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</p:sldMasterIdLst>
  <p:notesMasterIdLst>
    <p:notesMasterId r:id="rId90"/>
  </p:notesMasterIdLst>
  <p:sldIdLst>
    <p:sldId id="2134805620" r:id="rId2"/>
    <p:sldId id="2134806624" r:id="rId3"/>
    <p:sldId id="2134806625" r:id="rId4"/>
    <p:sldId id="2134806249" r:id="rId5"/>
    <p:sldId id="2134806626" r:id="rId6"/>
    <p:sldId id="2134806405" r:id="rId7"/>
    <p:sldId id="2134806627" r:id="rId8"/>
    <p:sldId id="2134806628" r:id="rId9"/>
    <p:sldId id="2134806400" r:id="rId10"/>
    <p:sldId id="2134806409" r:id="rId11"/>
    <p:sldId id="2134806570" r:id="rId12"/>
    <p:sldId id="2134806571" r:id="rId13"/>
    <p:sldId id="2134806572" r:id="rId14"/>
    <p:sldId id="2134806573" r:id="rId15"/>
    <p:sldId id="2134806574" r:id="rId16"/>
    <p:sldId id="2134806575" r:id="rId17"/>
    <p:sldId id="2134806576" r:id="rId18"/>
    <p:sldId id="2134806577" r:id="rId19"/>
    <p:sldId id="2134806578" r:id="rId20"/>
    <p:sldId id="2134806579" r:id="rId21"/>
    <p:sldId id="2134806580" r:id="rId22"/>
    <p:sldId id="2134806410" r:id="rId23"/>
    <p:sldId id="2134806497" r:id="rId24"/>
    <p:sldId id="2134806629" r:id="rId25"/>
    <p:sldId id="2134806444" r:id="rId26"/>
    <p:sldId id="2134806581" r:id="rId27"/>
    <p:sldId id="2134806582" r:id="rId28"/>
    <p:sldId id="2134806583" r:id="rId29"/>
    <p:sldId id="2134806445" r:id="rId30"/>
    <p:sldId id="2134806584" r:id="rId31"/>
    <p:sldId id="2134806446" r:id="rId32"/>
    <p:sldId id="2134806585" r:id="rId33"/>
    <p:sldId id="2134806586" r:id="rId34"/>
    <p:sldId id="2134806451" r:id="rId35"/>
    <p:sldId id="2134806181" r:id="rId36"/>
    <p:sldId id="2134806501" r:id="rId37"/>
    <p:sldId id="2134806592" r:id="rId38"/>
    <p:sldId id="2134806593" r:id="rId39"/>
    <p:sldId id="2134806594" r:id="rId40"/>
    <p:sldId id="2134806595" r:id="rId41"/>
    <p:sldId id="2134806596" r:id="rId42"/>
    <p:sldId id="2134806597" r:id="rId43"/>
    <p:sldId id="2134806598" r:id="rId44"/>
    <p:sldId id="2134806599" r:id="rId45"/>
    <p:sldId id="2134806600" r:id="rId46"/>
    <p:sldId id="2134806601" r:id="rId47"/>
    <p:sldId id="2134806602" r:id="rId48"/>
    <p:sldId id="2134806603" r:id="rId49"/>
    <p:sldId id="2134806604" r:id="rId50"/>
    <p:sldId id="2134806605" r:id="rId51"/>
    <p:sldId id="2134806606" r:id="rId52"/>
    <p:sldId id="2134806607" r:id="rId53"/>
    <p:sldId id="2134806608" r:id="rId54"/>
    <p:sldId id="2134806609" r:id="rId55"/>
    <p:sldId id="2134806630" r:id="rId56"/>
    <p:sldId id="2134806533" r:id="rId57"/>
    <p:sldId id="2134806610" r:id="rId58"/>
    <p:sldId id="2134806611" r:id="rId59"/>
    <p:sldId id="2134806612" r:id="rId60"/>
    <p:sldId id="2134806613" r:id="rId61"/>
    <p:sldId id="2134806615" r:id="rId62"/>
    <p:sldId id="2134806631" r:id="rId63"/>
    <p:sldId id="2134806453" r:id="rId64"/>
    <p:sldId id="2134806540" r:id="rId65"/>
    <p:sldId id="2134806616" r:id="rId66"/>
    <p:sldId id="2134806617" r:id="rId67"/>
    <p:sldId id="2134806458" r:id="rId68"/>
    <p:sldId id="2134806459" r:id="rId69"/>
    <p:sldId id="2134806543" r:id="rId70"/>
    <p:sldId id="2134806462" r:id="rId71"/>
    <p:sldId id="2134806463" r:id="rId72"/>
    <p:sldId id="2134806477" r:id="rId73"/>
    <p:sldId id="2134806545" r:id="rId74"/>
    <p:sldId id="2134806547" r:id="rId75"/>
    <p:sldId id="2134806618" r:id="rId76"/>
    <p:sldId id="2134806619" r:id="rId77"/>
    <p:sldId id="2134806620" r:id="rId78"/>
    <p:sldId id="2134806621" r:id="rId79"/>
    <p:sldId id="2134806623" r:id="rId80"/>
    <p:sldId id="2134806632" r:id="rId81"/>
    <p:sldId id="2134806475" r:id="rId82"/>
    <p:sldId id="2134806489" r:id="rId83"/>
    <p:sldId id="2134806566" r:id="rId84"/>
    <p:sldId id="2134806567" r:id="rId85"/>
    <p:sldId id="2134806633" r:id="rId86"/>
    <p:sldId id="2134806494" r:id="rId87"/>
    <p:sldId id="2134806495" r:id="rId88"/>
    <p:sldId id="2134806496" r:id="rId89"/>
  </p:sldIdLst>
  <p:sldSz cx="9144000" cy="6858000" type="screen4x3"/>
  <p:notesSz cx="6858000" cy="9144000"/>
  <p:embeddedFontLst>
    <p:embeddedFont>
      <p:font typeface="BelleAllureCE" panose="02000803000000000000" pitchFamily="50" charset="0"/>
      <p:bold r:id="rId91"/>
    </p:embeddedFont>
    <p:embeddedFont>
      <p:font typeface="Cambria" panose="02040503050406030204" pitchFamily="18" charset="0"/>
      <p:regular r:id="rId92"/>
      <p:bold r:id="rId93"/>
      <p:italic r:id="rId94"/>
      <p:boldItalic r:id="rId95"/>
    </p:embeddedFont>
    <p:embeddedFont>
      <p:font typeface="Dosis" pitchFamily="2" charset="0"/>
      <p:regular r:id="rId96"/>
      <p:bold r:id="rId97"/>
    </p:embeddedFont>
    <p:embeddedFont>
      <p:font typeface="Microsoft Uighur" panose="02000000000000000000" pitchFamily="2" charset="-78"/>
      <p:regular r:id="rId98"/>
      <p:bold r:id="rId99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365AD1-7D00-42D7-8E47-6E306EC2F93A}" v="426" dt="2024-11-12T11:00:47.9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159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theme" Target="theme/theme1.xml"/><Relationship Id="rId5" Type="http://schemas.openxmlformats.org/officeDocument/2006/relationships/slide" Target="slides/slide4.xml"/><Relationship Id="rId90" Type="http://schemas.openxmlformats.org/officeDocument/2006/relationships/notesMaster" Target="notesMasters/notesMaster1.xml"/><Relationship Id="rId95" Type="http://schemas.openxmlformats.org/officeDocument/2006/relationships/font" Target="fonts/font5.fntdata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font" Target="fonts/font1.fntdata"/><Relationship Id="rId96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font" Target="fonts/font4.fntdata"/><Relationship Id="rId99" Type="http://schemas.openxmlformats.org/officeDocument/2006/relationships/font" Target="fonts/font9.fntdata"/><Relationship Id="rId10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font" Target="fonts/font7.fntdata"/><Relationship Id="rId104" Type="http://schemas.microsoft.com/office/2016/11/relationships/changesInfo" Target="changesInfos/changesInfo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font" Target="fonts/font2.fntdata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presProps" Target="presProps.xml"/><Relationship Id="rId105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font" Target="fonts/font3.fntdata"/><Relationship Id="rId98" Type="http://schemas.openxmlformats.org/officeDocument/2006/relationships/font" Target="fonts/font8.fntdata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hamed Ibissi" userId="90b6f8706c8cb808" providerId="LiveId" clId="{D4365AD1-7D00-42D7-8E47-6E306EC2F93A}"/>
    <pc:docChg chg="undo custSel addSld delSld modSld sldOrd">
      <pc:chgData name="Mohamed Ibissi" userId="90b6f8706c8cb808" providerId="LiveId" clId="{D4365AD1-7D00-42D7-8E47-6E306EC2F93A}" dt="2024-11-12T14:45:23.719" v="2151" actId="47"/>
      <pc:docMkLst>
        <pc:docMk/>
      </pc:docMkLst>
      <pc:sldChg chg="modSp add del mod">
        <pc:chgData name="Mohamed Ibissi" userId="90b6f8706c8cb808" providerId="LiveId" clId="{D4365AD1-7D00-42D7-8E47-6E306EC2F93A}" dt="2024-11-11T10:09:24.763" v="1540" actId="47"/>
        <pc:sldMkLst>
          <pc:docMk/>
          <pc:sldMk cId="3869469076" sldId="261"/>
        </pc:sldMkLst>
        <pc:picChg chg="ord">
          <ac:chgData name="Mohamed Ibissi" userId="90b6f8706c8cb808" providerId="LiveId" clId="{D4365AD1-7D00-42D7-8E47-6E306EC2F93A}" dt="2024-11-11T10:09:18.870" v="1539" actId="167"/>
          <ac:picMkLst>
            <pc:docMk/>
            <pc:sldMk cId="3869469076" sldId="261"/>
            <ac:picMk id="3" creationId="{D02111CC-9D89-F8E0-7163-F760B6B9C3D5}"/>
          </ac:picMkLst>
        </pc:picChg>
      </pc:sldChg>
      <pc:sldChg chg="addSp delSp modSp add del mod">
        <pc:chgData name="Mohamed Ibissi" userId="90b6f8706c8cb808" providerId="LiveId" clId="{D4365AD1-7D00-42D7-8E47-6E306EC2F93A}" dt="2024-11-11T10:13:59.163" v="1580" actId="20577"/>
        <pc:sldMkLst>
          <pc:docMk/>
          <pc:sldMk cId="0" sldId="2134805620"/>
        </pc:sldMkLst>
        <pc:spChg chg="add 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5" creationId="{28FAC4EF-0195-F11C-59A9-D01C957E9116}"/>
          </ac:spMkLst>
        </pc:spChg>
        <pc:spChg chg="del">
          <ac:chgData name="Mohamed Ibissi" userId="90b6f8706c8cb808" providerId="LiveId" clId="{D4365AD1-7D00-42D7-8E47-6E306EC2F93A}" dt="2024-11-11T10:12:32.614" v="1544" actId="478"/>
          <ac:spMkLst>
            <pc:docMk/>
            <pc:sldMk cId="0" sldId="2134805620"/>
            <ac:spMk id="6" creationId="{B496C20E-A4D5-ECF0-CE17-C1657F5D0827}"/>
          </ac:spMkLst>
        </pc:spChg>
        <pc:spChg chg="del">
          <ac:chgData name="Mohamed Ibissi" userId="90b6f8706c8cb808" providerId="LiveId" clId="{D4365AD1-7D00-42D7-8E47-6E306EC2F93A}" dt="2024-11-11T10:12:29.409" v="1543" actId="478"/>
          <ac:spMkLst>
            <pc:docMk/>
            <pc:sldMk cId="0" sldId="2134805620"/>
            <ac:spMk id="7" creationId="{00000000-0000-0000-0000-000000000000}"/>
          </ac:spMkLst>
        </pc:spChg>
        <pc:spChg chg="add 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8" creationId="{A74B9807-F39C-9CBB-DAEA-3ECF9732CB6E}"/>
          </ac:spMkLst>
        </pc:spChg>
        <pc:spChg chg="del">
          <ac:chgData name="Mohamed Ibissi" userId="90b6f8706c8cb808" providerId="LiveId" clId="{D4365AD1-7D00-42D7-8E47-6E306EC2F93A}" dt="2024-11-11T10:12:36.506" v="1545" actId="478"/>
          <ac:spMkLst>
            <pc:docMk/>
            <pc:sldMk cId="0" sldId="2134805620"/>
            <ac:spMk id="10" creationId="{C7D7DD4C-7B77-183D-F3D6-F7060A8F6D60}"/>
          </ac:spMkLst>
        </pc:spChg>
        <pc:spChg chg="del">
          <ac:chgData name="Mohamed Ibissi" userId="90b6f8706c8cb808" providerId="LiveId" clId="{D4365AD1-7D00-42D7-8E47-6E306EC2F93A}" dt="2024-11-11T10:13:03.767" v="1548" actId="478"/>
          <ac:spMkLst>
            <pc:docMk/>
            <pc:sldMk cId="0" sldId="2134805620"/>
            <ac:spMk id="11" creationId="{354B17B4-09FA-4F91-64F9-F9FCFC22C266}"/>
          </ac:spMkLst>
        </pc:spChg>
        <pc:spChg chg="del">
          <ac:chgData name="Mohamed Ibissi" userId="90b6f8706c8cb808" providerId="LiveId" clId="{D4365AD1-7D00-42D7-8E47-6E306EC2F93A}" dt="2024-11-11T10:12:57.218" v="1546" actId="478"/>
          <ac:spMkLst>
            <pc:docMk/>
            <pc:sldMk cId="0" sldId="2134805620"/>
            <ac:spMk id="12" creationId="{4AE25B26-34DC-5EA0-A92C-85A13952DA61}"/>
          </ac:spMkLst>
        </pc:spChg>
        <pc:spChg chg="add 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13" creationId="{62166C54-286D-1A8E-39B4-57843635F782}"/>
          </ac:spMkLst>
        </pc:spChg>
        <pc:spChg chg="add 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14" creationId="{B55E736C-F490-2EF9-2BD4-B1E6C0ACC055}"/>
          </ac:spMkLst>
        </pc:spChg>
        <pc:spChg chg="add 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16" creationId="{4A815909-2A4C-1178-F971-508B932A2579}"/>
          </ac:spMkLst>
        </pc:spChg>
        <pc:spChg chg="add 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17" creationId="{8F9B8CD2-6BCC-6294-7C9D-65F6E1545EFB}"/>
          </ac:spMkLst>
        </pc:spChg>
        <pc:spChg chg="del">
          <ac:chgData name="Mohamed Ibissi" userId="90b6f8706c8cb808" providerId="LiveId" clId="{D4365AD1-7D00-42D7-8E47-6E306EC2F93A}" dt="2024-11-11T10:12:29.409" v="1543" actId="478"/>
          <ac:spMkLst>
            <pc:docMk/>
            <pc:sldMk cId="0" sldId="2134805620"/>
            <ac:spMk id="18" creationId="{8CB2B29E-1F2E-8276-4837-F1DA3E2CE711}"/>
          </ac:spMkLst>
        </pc:spChg>
        <pc:spChg chg="add mod">
          <ac:chgData name="Mohamed Ibissi" userId="90b6f8706c8cb808" providerId="LiveId" clId="{D4365AD1-7D00-42D7-8E47-6E306EC2F93A}" dt="2024-11-11T10:13:59.163" v="1580" actId="20577"/>
          <ac:spMkLst>
            <pc:docMk/>
            <pc:sldMk cId="0" sldId="2134805620"/>
            <ac:spMk id="19" creationId="{01830A1B-7C91-19D3-13F4-8B743F4BB460}"/>
          </ac:spMkLst>
        </pc:spChg>
        <pc:spChg chg="del">
          <ac:chgData name="Mohamed Ibissi" userId="90b6f8706c8cb808" providerId="LiveId" clId="{D4365AD1-7D00-42D7-8E47-6E306EC2F93A}" dt="2024-11-11T10:12:29.409" v="1543" actId="478"/>
          <ac:spMkLst>
            <pc:docMk/>
            <pc:sldMk cId="0" sldId="2134805620"/>
            <ac:spMk id="20" creationId="{10BC63D7-3460-ED8E-6790-47C68BC4E22B}"/>
          </ac:spMkLst>
        </pc:spChg>
        <pc:spChg chg="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23" creationId="{1E5400B5-7BC7-0266-FD7A-80D1F6E5B564}"/>
          </ac:spMkLst>
        </pc:spChg>
        <pc:spChg chg="mod">
          <ac:chgData name="Mohamed Ibissi" userId="90b6f8706c8cb808" providerId="LiveId" clId="{D4365AD1-7D00-42D7-8E47-6E306EC2F93A}" dt="2024-11-11T10:13:34.983" v="1561" actId="20577"/>
          <ac:spMkLst>
            <pc:docMk/>
            <pc:sldMk cId="0" sldId="2134805620"/>
            <ac:spMk id="24" creationId="{F348931E-3B0C-075B-B62E-4475484F93BA}"/>
          </ac:spMkLst>
        </pc:spChg>
        <pc:spChg chg="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25" creationId="{EE0FA989-1A68-F9C3-82C4-BC6BAEB5A70B}"/>
          </ac:spMkLst>
        </pc:spChg>
        <pc:spChg chg="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26" creationId="{02C73B46-B178-E9D0-1D59-8BF7EFCE5B78}"/>
          </ac:spMkLst>
        </pc:spChg>
        <pc:spChg chg="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29" creationId="{98EBFAAA-78FA-D1FD-2442-2EF4EB78946D}"/>
          </ac:spMkLst>
        </pc:spChg>
        <pc:spChg chg="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30" creationId="{0AFBC2AD-27C0-70B4-EE3F-FD6FB36FAB42}"/>
          </ac:spMkLst>
        </pc:spChg>
        <pc:spChg chg="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31" creationId="{96666752-657F-F88D-8EEF-F2539DAF9BAA}"/>
          </ac:spMkLst>
        </pc:spChg>
        <pc:spChg chg="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33" creationId="{DA4A1B25-EF9B-0706-67CC-DB8EB976973C}"/>
          </ac:spMkLst>
        </pc:spChg>
        <pc:spChg chg="mod">
          <ac:chgData name="Mohamed Ibissi" userId="90b6f8706c8cb808" providerId="LiveId" clId="{D4365AD1-7D00-42D7-8E47-6E306EC2F93A}" dt="2024-11-11T10:13:15.808" v="1549"/>
          <ac:spMkLst>
            <pc:docMk/>
            <pc:sldMk cId="0" sldId="2134805620"/>
            <ac:spMk id="34" creationId="{800696A1-46D9-C432-0608-AF9760014DE1}"/>
          </ac:spMkLst>
        </pc:spChg>
        <pc:grpChg chg="add mod">
          <ac:chgData name="Mohamed Ibissi" userId="90b6f8706c8cb808" providerId="LiveId" clId="{D4365AD1-7D00-42D7-8E47-6E306EC2F93A}" dt="2024-11-11T10:13:15.808" v="1549"/>
          <ac:grpSpMkLst>
            <pc:docMk/>
            <pc:sldMk cId="0" sldId="2134805620"/>
            <ac:grpSpMk id="21" creationId="{5EA82A9E-D928-9705-D35C-3296917CBBE6}"/>
          </ac:grpSpMkLst>
        </pc:grpChg>
        <pc:grpChg chg="mod">
          <ac:chgData name="Mohamed Ibissi" userId="90b6f8706c8cb808" providerId="LiveId" clId="{D4365AD1-7D00-42D7-8E47-6E306EC2F93A}" dt="2024-11-11T10:13:15.808" v="1549"/>
          <ac:grpSpMkLst>
            <pc:docMk/>
            <pc:sldMk cId="0" sldId="2134805620"/>
            <ac:grpSpMk id="22" creationId="{7F7EB676-0CAA-AA6D-EC0C-4E073D1CA9D3}"/>
          </ac:grpSpMkLst>
        </pc:grpChg>
        <pc:grpChg chg="add mod">
          <ac:chgData name="Mohamed Ibissi" userId="90b6f8706c8cb808" providerId="LiveId" clId="{D4365AD1-7D00-42D7-8E47-6E306EC2F93A}" dt="2024-11-11T10:13:15.808" v="1549"/>
          <ac:grpSpMkLst>
            <pc:docMk/>
            <pc:sldMk cId="0" sldId="2134805620"/>
            <ac:grpSpMk id="27" creationId="{94366D79-CE63-19DD-E464-6CC4DCE8E246}"/>
          </ac:grpSpMkLst>
        </pc:grpChg>
        <pc:grpChg chg="mod">
          <ac:chgData name="Mohamed Ibissi" userId="90b6f8706c8cb808" providerId="LiveId" clId="{D4365AD1-7D00-42D7-8E47-6E306EC2F93A}" dt="2024-11-11T10:13:15.808" v="1549"/>
          <ac:grpSpMkLst>
            <pc:docMk/>
            <pc:sldMk cId="0" sldId="2134805620"/>
            <ac:grpSpMk id="28" creationId="{74116ED5-EC55-CAB3-89AB-B7402A4F0FF6}"/>
          </ac:grpSpMkLst>
        </pc:grpChg>
        <pc:grpChg chg="mod">
          <ac:chgData name="Mohamed Ibissi" userId="90b6f8706c8cb808" providerId="LiveId" clId="{D4365AD1-7D00-42D7-8E47-6E306EC2F93A}" dt="2024-11-11T10:13:15.808" v="1549"/>
          <ac:grpSpMkLst>
            <pc:docMk/>
            <pc:sldMk cId="0" sldId="2134805620"/>
            <ac:grpSpMk id="32" creationId="{08A5D350-E27F-211B-C750-EEF8A7577276}"/>
          </ac:grpSpMkLst>
        </pc:grpChg>
        <pc:picChg chg="add mod ord">
          <ac:chgData name="Mohamed Ibissi" userId="90b6f8706c8cb808" providerId="LiveId" clId="{D4365AD1-7D00-42D7-8E47-6E306EC2F93A}" dt="2024-11-11T10:09:38.242" v="1542" actId="167"/>
          <ac:picMkLst>
            <pc:docMk/>
            <pc:sldMk cId="0" sldId="2134805620"/>
            <ac:picMk id="3" creationId="{316E4EE6-5FAC-D959-07DF-97F11297B41A}"/>
          </ac:picMkLst>
        </pc:picChg>
        <pc:picChg chg="add mod">
          <ac:chgData name="Mohamed Ibissi" userId="90b6f8706c8cb808" providerId="LiveId" clId="{D4365AD1-7D00-42D7-8E47-6E306EC2F93A}" dt="2024-11-11T10:13:15.808" v="1549"/>
          <ac:picMkLst>
            <pc:docMk/>
            <pc:sldMk cId="0" sldId="2134805620"/>
            <ac:picMk id="15" creationId="{0CE446C7-1A2A-1B03-369C-CD46307E55CC}"/>
          </ac:picMkLst>
        </pc:picChg>
        <pc:picChg chg="del">
          <ac:chgData name="Mohamed Ibissi" userId="90b6f8706c8cb808" providerId="LiveId" clId="{D4365AD1-7D00-42D7-8E47-6E306EC2F93A}" dt="2024-11-11T10:13:00.734" v="1547" actId="478"/>
          <ac:picMkLst>
            <pc:docMk/>
            <pc:sldMk cId="0" sldId="2134805620"/>
            <ac:picMk id="2050" creationId="{6639833F-3EB5-41FA-6625-3CC8E815B44D}"/>
          </ac:picMkLst>
        </pc:picChg>
      </pc:sldChg>
      <pc:sldChg chg="modSp del mod">
        <pc:chgData name="Mohamed Ibissi" userId="90b6f8706c8cb808" providerId="LiveId" clId="{D4365AD1-7D00-42D7-8E47-6E306EC2F93A}" dt="2024-11-11T10:21:56.118" v="1638" actId="47"/>
        <pc:sldMkLst>
          <pc:docMk/>
          <pc:sldMk cId="2143923266" sldId="2134805631"/>
        </pc:sldMkLst>
        <pc:spChg chg="mod">
          <ac:chgData name="Mohamed Ibissi" userId="90b6f8706c8cb808" providerId="LiveId" clId="{D4365AD1-7D00-42D7-8E47-6E306EC2F93A}" dt="2024-11-11T10:21:41.516" v="1634" actId="20577"/>
          <ac:spMkLst>
            <pc:docMk/>
            <pc:sldMk cId="2143923266" sldId="2134805631"/>
            <ac:spMk id="6" creationId="{00000000-0000-0000-0000-000000000000}"/>
          </ac:spMkLst>
        </pc:spChg>
      </pc:sldChg>
      <pc:sldChg chg="del">
        <pc:chgData name="Mohamed Ibissi" userId="90b6f8706c8cb808" providerId="LiveId" clId="{D4365AD1-7D00-42D7-8E47-6E306EC2F93A}" dt="2024-11-11T10:22:21.885" v="1640" actId="47"/>
        <pc:sldMkLst>
          <pc:docMk/>
          <pc:sldMk cId="2816936015" sldId="2134805640"/>
        </pc:sldMkLst>
      </pc:sldChg>
      <pc:sldChg chg="del">
        <pc:chgData name="Mohamed Ibissi" userId="90b6f8706c8cb808" providerId="LiveId" clId="{D4365AD1-7D00-42D7-8E47-6E306EC2F93A}" dt="2024-11-11T10:15:30.334" v="1586" actId="47"/>
        <pc:sldMkLst>
          <pc:docMk/>
          <pc:sldMk cId="31310502" sldId="2134805741"/>
        </pc:sldMkLst>
      </pc:sldChg>
      <pc:sldChg chg="del">
        <pc:chgData name="Mohamed Ibissi" userId="90b6f8706c8cb808" providerId="LiveId" clId="{D4365AD1-7D00-42D7-8E47-6E306EC2F93A}" dt="2024-11-11T10:20:55.889" v="1630" actId="47"/>
        <pc:sldMkLst>
          <pc:docMk/>
          <pc:sldMk cId="3597570969" sldId="2134805944"/>
        </pc:sldMkLst>
      </pc:sldChg>
      <pc:sldChg chg="del">
        <pc:chgData name="Mohamed Ibissi" userId="90b6f8706c8cb808" providerId="LiveId" clId="{D4365AD1-7D00-42D7-8E47-6E306EC2F93A}" dt="2024-11-11T10:17:44.864" v="1615" actId="47"/>
        <pc:sldMkLst>
          <pc:docMk/>
          <pc:sldMk cId="1845115973" sldId="2134806180"/>
        </pc:sldMkLst>
      </pc:sldChg>
      <pc:sldChg chg="modSp add del mod">
        <pc:chgData name="Mohamed Ibissi" userId="90b6f8706c8cb808" providerId="LiveId" clId="{D4365AD1-7D00-42D7-8E47-6E306EC2F93A}" dt="2024-11-11T10:19:29.566" v="1619" actId="20577"/>
        <pc:sldMkLst>
          <pc:docMk/>
          <pc:sldMk cId="2480406611" sldId="2134806181"/>
        </pc:sldMkLst>
        <pc:spChg chg="mod">
          <ac:chgData name="Mohamed Ibissi" userId="90b6f8706c8cb808" providerId="LiveId" clId="{D4365AD1-7D00-42D7-8E47-6E306EC2F93A}" dt="2024-11-11T10:19:29.566" v="1619" actId="20577"/>
          <ac:spMkLst>
            <pc:docMk/>
            <pc:sldMk cId="2480406611" sldId="2134806181"/>
            <ac:spMk id="6" creationId="{F7B80CEE-EF85-F60C-1AD2-8ACD885F40CD}"/>
          </ac:spMkLst>
        </pc:spChg>
      </pc:sldChg>
      <pc:sldChg chg="modSp add mod">
        <pc:chgData name="Mohamed Ibissi" userId="90b6f8706c8cb808" providerId="LiveId" clId="{D4365AD1-7D00-42D7-8E47-6E306EC2F93A}" dt="2024-11-12T13:09:43.663" v="2100" actId="404"/>
        <pc:sldMkLst>
          <pc:docMk/>
          <pc:sldMk cId="3317191076" sldId="2134806249"/>
        </pc:sldMkLst>
        <pc:spChg chg="mod">
          <ac:chgData name="Mohamed Ibissi" userId="90b6f8706c8cb808" providerId="LiveId" clId="{D4365AD1-7D00-42D7-8E47-6E306EC2F93A}" dt="2024-11-12T13:09:43.663" v="2100" actId="404"/>
          <ac:spMkLst>
            <pc:docMk/>
            <pc:sldMk cId="3317191076" sldId="2134806249"/>
            <ac:spMk id="26" creationId="{C4791D1A-237F-DFDF-87F2-967A8A1A944B}"/>
          </ac:spMkLst>
        </pc:spChg>
        <pc:spChg chg="mod">
          <ac:chgData name="Mohamed Ibissi" userId="90b6f8706c8cb808" providerId="LiveId" clId="{D4365AD1-7D00-42D7-8E47-6E306EC2F93A}" dt="2024-11-12T13:09:43.663" v="2100" actId="404"/>
          <ac:spMkLst>
            <pc:docMk/>
            <pc:sldMk cId="3317191076" sldId="2134806249"/>
            <ac:spMk id="27" creationId="{7514BC20-DCAA-097A-963C-3C62B1138CEB}"/>
          </ac:spMkLst>
        </pc:spChg>
        <pc:spChg chg="mod">
          <ac:chgData name="Mohamed Ibissi" userId="90b6f8706c8cb808" providerId="LiveId" clId="{D4365AD1-7D00-42D7-8E47-6E306EC2F93A}" dt="2024-11-12T13:09:43.663" v="2100" actId="404"/>
          <ac:spMkLst>
            <pc:docMk/>
            <pc:sldMk cId="3317191076" sldId="2134806249"/>
            <ac:spMk id="29" creationId="{C9664CAF-E9EA-FF81-C096-F576958011E5}"/>
          </ac:spMkLst>
        </pc:spChg>
        <pc:spChg chg="mod">
          <ac:chgData name="Mohamed Ibissi" userId="90b6f8706c8cb808" providerId="LiveId" clId="{D4365AD1-7D00-42D7-8E47-6E306EC2F93A}" dt="2024-11-12T13:09:43.663" v="2100" actId="404"/>
          <ac:spMkLst>
            <pc:docMk/>
            <pc:sldMk cId="3317191076" sldId="2134806249"/>
            <ac:spMk id="30" creationId="{9B55B03F-0996-CDCC-E5DF-A6437BA3223D}"/>
          </ac:spMkLst>
        </pc:spChg>
        <pc:spChg chg="mod">
          <ac:chgData name="Mohamed Ibissi" userId="90b6f8706c8cb808" providerId="LiveId" clId="{D4365AD1-7D00-42D7-8E47-6E306EC2F93A}" dt="2024-11-12T13:09:43.663" v="2100" actId="404"/>
          <ac:spMkLst>
            <pc:docMk/>
            <pc:sldMk cId="3317191076" sldId="2134806249"/>
            <ac:spMk id="32" creationId="{A9DABFE0-70C8-684C-B5AF-C1D7B97901FC}"/>
          </ac:spMkLst>
        </pc:spChg>
        <pc:spChg chg="mod">
          <ac:chgData name="Mohamed Ibissi" userId="90b6f8706c8cb808" providerId="LiveId" clId="{D4365AD1-7D00-42D7-8E47-6E306EC2F93A}" dt="2024-11-12T13:09:43.663" v="2100" actId="404"/>
          <ac:spMkLst>
            <pc:docMk/>
            <pc:sldMk cId="3317191076" sldId="2134806249"/>
            <ac:spMk id="33" creationId="{78F93B5D-E5A1-C1F3-EA0E-CE08E76CD02C}"/>
          </ac:spMkLst>
        </pc:spChg>
        <pc:spChg chg="mod">
          <ac:chgData name="Mohamed Ibissi" userId="90b6f8706c8cb808" providerId="LiveId" clId="{D4365AD1-7D00-42D7-8E47-6E306EC2F93A}" dt="2024-11-12T13:09:43.663" v="2100" actId="404"/>
          <ac:spMkLst>
            <pc:docMk/>
            <pc:sldMk cId="3317191076" sldId="2134806249"/>
            <ac:spMk id="36" creationId="{83B9A300-CA53-64F3-F908-C262E606C7CC}"/>
          </ac:spMkLst>
        </pc:spChg>
        <pc:spChg chg="mod">
          <ac:chgData name="Mohamed Ibissi" userId="90b6f8706c8cb808" providerId="LiveId" clId="{D4365AD1-7D00-42D7-8E47-6E306EC2F93A}" dt="2024-11-12T13:09:43.663" v="2100" actId="404"/>
          <ac:spMkLst>
            <pc:docMk/>
            <pc:sldMk cId="3317191076" sldId="2134806249"/>
            <ac:spMk id="44" creationId="{2BE61A74-F657-A74B-9E0C-C38627C06DC1}"/>
          </ac:spMkLst>
        </pc:spChg>
        <pc:spChg chg="mod">
          <ac:chgData name="Mohamed Ibissi" userId="90b6f8706c8cb808" providerId="LiveId" clId="{D4365AD1-7D00-42D7-8E47-6E306EC2F93A}" dt="2024-11-12T13:09:43.663" v="2100" actId="404"/>
          <ac:spMkLst>
            <pc:docMk/>
            <pc:sldMk cId="3317191076" sldId="2134806249"/>
            <ac:spMk id="45" creationId="{5A3D4305-FB29-7796-6B8C-33685E968CAF}"/>
          </ac:spMkLst>
        </pc:spChg>
        <pc:spChg chg="mod">
          <ac:chgData name="Mohamed Ibissi" userId="90b6f8706c8cb808" providerId="LiveId" clId="{D4365AD1-7D00-42D7-8E47-6E306EC2F93A}" dt="2024-11-12T13:09:43.663" v="2100" actId="404"/>
          <ac:spMkLst>
            <pc:docMk/>
            <pc:sldMk cId="3317191076" sldId="2134806249"/>
            <ac:spMk id="69" creationId="{FEE33B3F-8E33-4729-2EFB-5D1D31930B24}"/>
          </ac:spMkLst>
        </pc:spChg>
      </pc:sldChg>
      <pc:sldChg chg="addSp delSp modSp mod">
        <pc:chgData name="Mohamed Ibissi" userId="90b6f8706c8cb808" providerId="LiveId" clId="{D4365AD1-7D00-42D7-8E47-6E306EC2F93A}" dt="2024-11-11T10:23:40.409" v="1643" actId="167"/>
        <pc:sldMkLst>
          <pc:docMk/>
          <pc:sldMk cId="1811523996" sldId="2134806400"/>
        </pc:sldMkLst>
        <pc:graphicFrameChg chg="del">
          <ac:chgData name="Mohamed Ibissi" userId="90b6f8706c8cb808" providerId="LiveId" clId="{D4365AD1-7D00-42D7-8E47-6E306EC2F93A}" dt="2024-11-11T10:22:56.028" v="1641" actId="478"/>
          <ac:graphicFrameMkLst>
            <pc:docMk/>
            <pc:sldMk cId="1811523996" sldId="2134806400"/>
            <ac:graphicFrameMk id="7" creationId="{9075F1F5-A224-8D97-6161-84BC8DE54251}"/>
          </ac:graphicFrameMkLst>
        </pc:graphicFrameChg>
        <pc:picChg chg="add mod ord">
          <ac:chgData name="Mohamed Ibissi" userId="90b6f8706c8cb808" providerId="LiveId" clId="{D4365AD1-7D00-42D7-8E47-6E306EC2F93A}" dt="2024-11-11T10:23:40.409" v="1643" actId="167"/>
          <ac:picMkLst>
            <pc:docMk/>
            <pc:sldMk cId="1811523996" sldId="2134806400"/>
            <ac:picMk id="2" creationId="{CE26C6A3-059D-1FB3-31A5-58AF369805F1}"/>
          </ac:picMkLst>
        </pc:picChg>
      </pc:sldChg>
      <pc:sldChg chg="del">
        <pc:chgData name="Mohamed Ibissi" userId="90b6f8706c8cb808" providerId="LiveId" clId="{D4365AD1-7D00-42D7-8E47-6E306EC2F93A}" dt="2024-11-11T10:14:21.428" v="1582" actId="47"/>
        <pc:sldMkLst>
          <pc:docMk/>
          <pc:sldMk cId="667944693" sldId="2134806402"/>
        </pc:sldMkLst>
      </pc:sldChg>
      <pc:sldChg chg="modSp del">
        <pc:chgData name="Mohamed Ibissi" userId="90b6f8706c8cb808" providerId="LiveId" clId="{D4365AD1-7D00-42D7-8E47-6E306EC2F93A}" dt="2024-11-11T10:15:01.455" v="1584" actId="47"/>
        <pc:sldMkLst>
          <pc:docMk/>
          <pc:sldMk cId="561069862" sldId="2134806403"/>
        </pc:sldMkLst>
        <pc:picChg chg="mod">
          <ac:chgData name="Mohamed Ibissi" userId="90b6f8706c8cb808" providerId="LiveId" clId="{D4365AD1-7D00-42D7-8E47-6E306EC2F93A}" dt="2024-11-10T21:51:42.265" v="1532" actId="14826"/>
          <ac:picMkLst>
            <pc:docMk/>
            <pc:sldMk cId="561069862" sldId="2134806403"/>
            <ac:picMk id="23" creationId="{0143C57D-A2FA-01FE-5D75-2F61EA5C90F8}"/>
          </ac:picMkLst>
        </pc:picChg>
      </pc:sldChg>
      <pc:sldChg chg="addSp delSp modSp mod">
        <pc:chgData name="Mohamed Ibissi" userId="90b6f8706c8cb808" providerId="LiveId" clId="{D4365AD1-7D00-42D7-8E47-6E306EC2F93A}" dt="2024-11-11T10:16:09.219" v="1609" actId="164"/>
        <pc:sldMkLst>
          <pc:docMk/>
          <pc:sldMk cId="3722766235" sldId="2134806405"/>
        </pc:sldMkLst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25" creationId="{8BE021DE-E166-FDD8-DD8F-A62CA212B7B7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27" creationId="{2F0F14A7-10D9-D26F-B0AC-E76ED0B020E1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28" creationId="{56B7D27B-C326-9156-3D90-4955D367A6C5}"/>
          </ac:spMkLst>
        </pc:spChg>
        <pc:spChg chg="del">
          <ac:chgData name="Mohamed Ibissi" userId="90b6f8706c8cb808" providerId="LiveId" clId="{D4365AD1-7D00-42D7-8E47-6E306EC2F93A}" dt="2024-11-11T10:15:55.837" v="1607" actId="478"/>
          <ac:spMkLst>
            <pc:docMk/>
            <pc:sldMk cId="3722766235" sldId="2134806405"/>
            <ac:spMk id="31" creationId="{B7DACC11-8883-43BA-0045-A64F08EF336C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32" creationId="{C33765A6-8DB6-ABC5-CF5A-71B525F1D4DC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33" creationId="{BE7A87CD-81CA-51B3-6BD5-D3367498AC07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36" creationId="{67281227-121F-F057-1803-FA80E156C77F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37" creationId="{8C4FFF12-47BD-9FFD-A9EA-D03E0A23E18C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38" creationId="{4713BDF5-0A03-F5A8-06FD-959FF4C35578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39" creationId="{49E1100A-ABE9-317E-1F34-B112B76D417D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40" creationId="{FE7C4BFB-C04E-E79C-A385-4E9C34FF8CEA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43" creationId="{687E4C5B-EDC6-7AD5-14D9-0DAFDCA10A19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46" creationId="{1B78BA3F-81F1-0A3A-FCAD-D1FB7881832F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47" creationId="{3F1AC2DB-49BD-0CD9-FF25-AD25C5C88FA8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48" creationId="{777BB6F9-1E47-E11B-B0E2-DDEE7E2C2363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49" creationId="{A5901568-A872-9689-B3B3-00DC254B60C9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50" creationId="{C9BEC6D1-97B8-2652-0328-1F6404EB8DEF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51" creationId="{F80547C1-EA10-FBC2-243F-28F0B8C54A9A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52" creationId="{62FA8562-58E8-A436-8AF3-3AECBA7D4742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53" creationId="{260F0EF2-2997-1689-A0D5-FD391D782EB8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54" creationId="{0A2A9F4C-C5D9-99B6-C716-B62E6EE5E41C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56" creationId="{C520DB83-76D9-0A95-162B-64F470AB0793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57" creationId="{B409B122-3707-02B3-86E3-4EF7474DACC3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60" creationId="{BCA7BB6F-6B47-384F-C0BA-4F1F7940A4B2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61" creationId="{FAAF3D22-C580-6D48-AC4D-B042C28F3BE5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62" creationId="{44FD021A-C35A-E136-EB41-0C52521A4582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63" creationId="{A597E947-4966-185B-97A5-9E4EA424B5CA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68" creationId="{CDD89BAB-5E1B-DD1D-26C5-B0543B44F2E9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69" creationId="{AFEBFD9E-A556-40FF-30DD-AD62FEA063BF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70" creationId="{A0E87398-F333-C764-FABF-B9865164CEB7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71" creationId="{D6342C0C-E0A5-FC7F-4593-DC2651F0DB2F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72" creationId="{B4669EE3-16EB-FD3F-6650-4309F5411FD0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75" creationId="{EDE19DE7-17DD-E006-11D4-ECA71C6118DF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76" creationId="{137F9F19-E0C6-6DF3-B25E-1C763B89F4B4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77" creationId="{830A930C-9F3F-9E86-38CA-88136977E1DF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78" creationId="{E1870002-8DDE-2CBD-F30A-FD21794B674E}"/>
          </ac:spMkLst>
        </pc:spChg>
        <pc:spChg chg="mod">
          <ac:chgData name="Mohamed Ibissi" userId="90b6f8706c8cb808" providerId="LiveId" clId="{D4365AD1-7D00-42D7-8E47-6E306EC2F93A}" dt="2024-11-11T10:16:04.874" v="1608"/>
          <ac:spMkLst>
            <pc:docMk/>
            <pc:sldMk cId="3722766235" sldId="2134806405"/>
            <ac:spMk id="79" creationId="{AD7BEF68-0C1C-E18A-170E-B93575DDFE9F}"/>
          </ac:spMkLst>
        </pc:spChg>
        <pc:grpChg chg="add mod">
          <ac:chgData name="Mohamed Ibissi" userId="90b6f8706c8cb808" providerId="LiveId" clId="{D4365AD1-7D00-42D7-8E47-6E306EC2F93A}" dt="2024-11-11T10:16:09.219" v="1609" actId="164"/>
          <ac:grpSpMkLst>
            <pc:docMk/>
            <pc:sldMk cId="3722766235" sldId="2134806405"/>
            <ac:grpSpMk id="10" creationId="{A5826FEF-94FB-5337-BD70-BF06D25B073B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26" creationId="{E7A8E939-744B-133E-0263-8D815EE3F436}"/>
          </ac:grpSpMkLst>
        </pc:grpChg>
        <pc:grpChg chg="add mod">
          <ac:chgData name="Mohamed Ibissi" userId="90b6f8706c8cb808" providerId="LiveId" clId="{D4365AD1-7D00-42D7-8E47-6E306EC2F93A}" dt="2024-11-11T10:16:09.219" v="1609" actId="164"/>
          <ac:grpSpMkLst>
            <pc:docMk/>
            <pc:sldMk cId="3722766235" sldId="2134806405"/>
            <ac:grpSpMk id="29" creationId="{B61A277F-F5ED-605A-87BF-06062C25C6A3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30" creationId="{71ACA6EB-F825-28F2-8FA2-55A9B3C26B8A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34" creationId="{3CFA9F26-84B5-137C-3975-B8D70F640EF5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35" creationId="{75729164-9431-7B5A-E184-F793C03996E2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41" creationId="{635E1F63-47E5-D700-0DB2-49BD336207F3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42" creationId="{8FBA1365-597E-B82A-9B86-8018B808607E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58" creationId="{3DE12240-C359-2D45-1640-22E625CFE7EF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59" creationId="{358BBE67-3AA7-A27D-D1AB-C93BED521531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64" creationId="{B665178A-3437-2569-0CA1-9F0F593C82FC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65" creationId="{6FF5FB77-B345-B315-57F5-CACCC87644CC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66" creationId="{62C564E7-D03B-C28F-1A47-063814AEEE27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67" creationId="{6DF5C4F3-E19F-4DA9-7FC0-D25164BAB39B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73" creationId="{BB15E2F5-C62F-6E2B-3CA1-305F788BE476}"/>
          </ac:grpSpMkLst>
        </pc:grpChg>
        <pc:grpChg chg="mod">
          <ac:chgData name="Mohamed Ibissi" userId="90b6f8706c8cb808" providerId="LiveId" clId="{D4365AD1-7D00-42D7-8E47-6E306EC2F93A}" dt="2024-11-11T10:16:04.874" v="1608"/>
          <ac:grpSpMkLst>
            <pc:docMk/>
            <pc:sldMk cId="3722766235" sldId="2134806405"/>
            <ac:grpSpMk id="74" creationId="{FB58E864-2445-585F-6A7F-F00A3B04529F}"/>
          </ac:grpSpMkLst>
        </pc:grpChg>
        <pc:grpChg chg="add mod">
          <ac:chgData name="Mohamed Ibissi" userId="90b6f8706c8cb808" providerId="LiveId" clId="{D4365AD1-7D00-42D7-8E47-6E306EC2F93A}" dt="2024-11-11T10:16:09.219" v="1609" actId="164"/>
          <ac:grpSpMkLst>
            <pc:docMk/>
            <pc:sldMk cId="3722766235" sldId="2134806405"/>
            <ac:grpSpMk id="80" creationId="{B36C4C60-897D-AEAB-80B6-8E9B1D6A3142}"/>
          </ac:grpSpMkLst>
        </pc:grpChg>
      </pc:sldChg>
      <pc:sldChg chg="modSp del mod">
        <pc:chgData name="Mohamed Ibissi" userId="90b6f8706c8cb808" providerId="LiveId" clId="{D4365AD1-7D00-42D7-8E47-6E306EC2F93A}" dt="2024-11-11T10:16:55.987" v="1612" actId="47"/>
        <pc:sldMkLst>
          <pc:docMk/>
          <pc:sldMk cId="2847131082" sldId="2134806406"/>
        </pc:sldMkLst>
        <pc:spChg chg="mod">
          <ac:chgData name="Mohamed Ibissi" userId="90b6f8706c8cb808" providerId="LiveId" clId="{D4365AD1-7D00-42D7-8E47-6E306EC2F93A}" dt="2024-11-09T05:10:29.458" v="30" actId="20577"/>
          <ac:spMkLst>
            <pc:docMk/>
            <pc:sldMk cId="2847131082" sldId="2134806406"/>
            <ac:spMk id="8" creationId="{407B291E-39AB-ED59-91BB-808EBC9ED614}"/>
          </ac:spMkLst>
        </pc:spChg>
      </pc:sldChg>
      <pc:sldChg chg="del">
        <pc:chgData name="Mohamed Ibissi" userId="90b6f8706c8cb808" providerId="LiveId" clId="{D4365AD1-7D00-42D7-8E47-6E306EC2F93A}" dt="2024-11-11T10:17:19.381" v="1614" actId="47"/>
        <pc:sldMkLst>
          <pc:docMk/>
          <pc:sldMk cId="1617183704" sldId="2134806407"/>
        </pc:sldMkLst>
      </pc:sldChg>
      <pc:sldChg chg="del">
        <pc:chgData name="Mohamed Ibissi" userId="90b6f8706c8cb808" providerId="LiveId" clId="{D4365AD1-7D00-42D7-8E47-6E306EC2F93A}" dt="2024-11-09T05:11:49.174" v="31" actId="47"/>
        <pc:sldMkLst>
          <pc:docMk/>
          <pc:sldMk cId="2880075344" sldId="2134806408"/>
        </pc:sldMkLst>
      </pc:sldChg>
      <pc:sldChg chg="addSp delSp modSp mod">
        <pc:chgData name="Mohamed Ibissi" userId="90b6f8706c8cb808" providerId="LiveId" clId="{D4365AD1-7D00-42D7-8E47-6E306EC2F93A}" dt="2024-11-11T10:23:59.627" v="1646" actId="167"/>
        <pc:sldMkLst>
          <pc:docMk/>
          <pc:sldMk cId="2264257768" sldId="2134806409"/>
        </pc:sldMkLst>
        <pc:spChg chg="mod">
          <ac:chgData name="Mohamed Ibissi" userId="90b6f8706c8cb808" providerId="LiveId" clId="{D4365AD1-7D00-42D7-8E47-6E306EC2F93A}" dt="2024-11-09T05:12:07.339" v="43" actId="20577"/>
          <ac:spMkLst>
            <pc:docMk/>
            <pc:sldMk cId="2264257768" sldId="2134806409"/>
            <ac:spMk id="3" creationId="{A99835B6-A37F-6422-65B4-2DEF4CFB625E}"/>
          </ac:spMkLst>
        </pc:spChg>
        <pc:graphicFrameChg chg="del">
          <ac:chgData name="Mohamed Ibissi" userId="90b6f8706c8cb808" providerId="LiveId" clId="{D4365AD1-7D00-42D7-8E47-6E306EC2F93A}" dt="2024-11-11T10:23:55.842" v="1644" actId="478"/>
          <ac:graphicFrameMkLst>
            <pc:docMk/>
            <pc:sldMk cId="2264257768" sldId="2134806409"/>
            <ac:graphicFrameMk id="4" creationId="{8C3F5198-F4D2-806F-E437-8AB18A3C73B8}"/>
          </ac:graphicFrameMkLst>
        </pc:graphicFrameChg>
        <pc:picChg chg="add mod ord">
          <ac:chgData name="Mohamed Ibissi" userId="90b6f8706c8cb808" providerId="LiveId" clId="{D4365AD1-7D00-42D7-8E47-6E306EC2F93A}" dt="2024-11-11T10:23:59.627" v="1646" actId="167"/>
          <ac:picMkLst>
            <pc:docMk/>
            <pc:sldMk cId="2264257768" sldId="2134806409"/>
            <ac:picMk id="5" creationId="{47A55452-CAFB-75FF-4E76-43A05C974FDA}"/>
          </ac:picMkLst>
        </pc:picChg>
      </pc:sldChg>
      <pc:sldChg chg="addSp delSp modSp mod">
        <pc:chgData name="Mohamed Ibissi" userId="90b6f8706c8cb808" providerId="LiveId" clId="{D4365AD1-7D00-42D7-8E47-6E306EC2F93A}" dt="2024-11-11T10:27:23.013" v="1720" actId="167"/>
        <pc:sldMkLst>
          <pc:docMk/>
          <pc:sldMk cId="1924709726" sldId="2134806410"/>
        </pc:sldMkLst>
        <pc:spChg chg="mod">
          <ac:chgData name="Mohamed Ibissi" userId="90b6f8706c8cb808" providerId="LiveId" clId="{D4365AD1-7D00-42D7-8E47-6E306EC2F93A}" dt="2024-11-09T05:23:53.308" v="197" actId="20577"/>
          <ac:spMkLst>
            <pc:docMk/>
            <pc:sldMk cId="1924709726" sldId="2134806410"/>
            <ac:spMk id="14" creationId="{AE544309-051C-0E1E-5D0D-1DAA508C1338}"/>
          </ac:spMkLst>
        </pc:spChg>
        <pc:graphicFrameChg chg="del">
          <ac:chgData name="Mohamed Ibissi" userId="90b6f8706c8cb808" providerId="LiveId" clId="{D4365AD1-7D00-42D7-8E47-6E306EC2F93A}" dt="2024-11-11T10:27:19.012" v="1718" actId="478"/>
          <ac:graphicFrameMkLst>
            <pc:docMk/>
            <pc:sldMk cId="1924709726" sldId="2134806410"/>
            <ac:graphicFrameMk id="2" creationId="{68B52E85-9EF5-47DA-B64D-8DCE1F6D24DF}"/>
          </ac:graphicFrameMkLst>
        </pc:graphicFrameChg>
        <pc:picChg chg="mod">
          <ac:chgData name="Mohamed Ibissi" userId="90b6f8706c8cb808" providerId="LiveId" clId="{D4365AD1-7D00-42D7-8E47-6E306EC2F93A}" dt="2024-11-09T05:23:28.350" v="180" actId="14826"/>
          <ac:picMkLst>
            <pc:docMk/>
            <pc:sldMk cId="1924709726" sldId="2134806410"/>
            <ac:picMk id="3" creationId="{F0E29129-FCFD-75F5-BDC7-E4B83BB545D7}"/>
          </ac:picMkLst>
        </pc:picChg>
        <pc:picChg chg="add mod ord">
          <ac:chgData name="Mohamed Ibissi" userId="90b6f8706c8cb808" providerId="LiveId" clId="{D4365AD1-7D00-42D7-8E47-6E306EC2F93A}" dt="2024-11-11T10:27:23.013" v="1720" actId="167"/>
          <ac:picMkLst>
            <pc:docMk/>
            <pc:sldMk cId="1924709726" sldId="2134806410"/>
            <ac:picMk id="4" creationId="{8774DFCB-0D96-516F-EDB7-84ADFFFE5C3F}"/>
          </ac:picMkLst>
        </pc:picChg>
      </pc:sldChg>
      <pc:sldChg chg="addSp delSp modSp mod">
        <pc:chgData name="Mohamed Ibissi" userId="90b6f8706c8cb808" providerId="LiveId" clId="{D4365AD1-7D00-42D7-8E47-6E306EC2F93A}" dt="2024-11-11T10:28:25.380" v="1726" actId="167"/>
        <pc:sldMkLst>
          <pc:docMk/>
          <pc:sldMk cId="3487738216" sldId="2134806444"/>
        </pc:sldMkLst>
        <pc:spChg chg="mod">
          <ac:chgData name="Mohamed Ibissi" userId="90b6f8706c8cb808" providerId="LiveId" clId="{D4365AD1-7D00-42D7-8E47-6E306EC2F93A}" dt="2024-11-09T05:28:47.418" v="240" actId="1076"/>
          <ac:spMkLst>
            <pc:docMk/>
            <pc:sldMk cId="3487738216" sldId="2134806444"/>
            <ac:spMk id="6" creationId="{B188CB11-9FE2-2A22-C350-B6425F9338BA}"/>
          </ac:spMkLst>
        </pc:spChg>
        <pc:spChg chg="del">
          <ac:chgData name="Mohamed Ibissi" userId="90b6f8706c8cb808" providerId="LiveId" clId="{D4365AD1-7D00-42D7-8E47-6E306EC2F93A}" dt="2024-11-09T05:27:59.833" v="210" actId="478"/>
          <ac:spMkLst>
            <pc:docMk/>
            <pc:sldMk cId="3487738216" sldId="2134806444"/>
            <ac:spMk id="9" creationId="{D1059175-7B8C-784D-294E-786B6C5E2CCE}"/>
          </ac:spMkLst>
        </pc:spChg>
        <pc:spChg chg="del">
          <ac:chgData name="Mohamed Ibissi" userId="90b6f8706c8cb808" providerId="LiveId" clId="{D4365AD1-7D00-42D7-8E47-6E306EC2F93A}" dt="2024-11-09T05:28:02.866" v="211" actId="478"/>
          <ac:spMkLst>
            <pc:docMk/>
            <pc:sldMk cId="3487738216" sldId="2134806444"/>
            <ac:spMk id="10" creationId="{30503EC0-E9EA-7D53-8AC5-C709DCD21619}"/>
          </ac:spMkLst>
        </pc:spChg>
        <pc:spChg chg="add mod">
          <ac:chgData name="Mohamed Ibissi" userId="90b6f8706c8cb808" providerId="LiveId" clId="{D4365AD1-7D00-42D7-8E47-6E306EC2F93A}" dt="2024-11-09T05:29:22.279" v="241"/>
          <ac:spMkLst>
            <pc:docMk/>
            <pc:sldMk cId="3487738216" sldId="2134806444"/>
            <ac:spMk id="11" creationId="{E93C7F30-5531-489E-FE4F-A792D322550E}"/>
          </ac:spMkLst>
        </pc:spChg>
        <pc:graphicFrameChg chg="del">
          <ac:chgData name="Mohamed Ibissi" userId="90b6f8706c8cb808" providerId="LiveId" clId="{D4365AD1-7D00-42D7-8E47-6E306EC2F93A}" dt="2024-11-11T10:28:21.814" v="1724" actId="478"/>
          <ac:graphicFrameMkLst>
            <pc:docMk/>
            <pc:sldMk cId="3487738216" sldId="2134806444"/>
            <ac:graphicFrameMk id="5" creationId="{95248005-EB6A-037B-3FF6-BA108D0B287E}"/>
          </ac:graphicFrameMkLst>
        </pc:graphicFrameChg>
        <pc:picChg chg="add mod">
          <ac:chgData name="Mohamed Ibissi" userId="90b6f8706c8cb808" providerId="LiveId" clId="{D4365AD1-7D00-42D7-8E47-6E306EC2F93A}" dt="2024-11-09T05:29:22.279" v="241"/>
          <ac:picMkLst>
            <pc:docMk/>
            <pc:sldMk cId="3487738216" sldId="2134806444"/>
            <ac:picMk id="2" creationId="{C0E35375-1EA3-D70D-305D-7FCC251BE6F2}"/>
          </ac:picMkLst>
        </pc:picChg>
        <pc:picChg chg="add mod">
          <ac:chgData name="Mohamed Ibissi" userId="90b6f8706c8cb808" providerId="LiveId" clId="{D4365AD1-7D00-42D7-8E47-6E306EC2F93A}" dt="2024-11-09T05:29:22.279" v="241"/>
          <ac:picMkLst>
            <pc:docMk/>
            <pc:sldMk cId="3487738216" sldId="2134806444"/>
            <ac:picMk id="3" creationId="{B4E548CA-7DDA-E300-14CE-F2DCD2D9FDB5}"/>
          </ac:picMkLst>
        </pc:picChg>
        <pc:picChg chg="add mod">
          <ac:chgData name="Mohamed Ibissi" userId="90b6f8706c8cb808" providerId="LiveId" clId="{D4365AD1-7D00-42D7-8E47-6E306EC2F93A}" dt="2024-11-09T05:29:22.279" v="241"/>
          <ac:picMkLst>
            <pc:docMk/>
            <pc:sldMk cId="3487738216" sldId="2134806444"/>
            <ac:picMk id="4" creationId="{8A2515EC-51F0-BD0C-0107-1E645095391F}"/>
          </ac:picMkLst>
        </pc:picChg>
        <pc:picChg chg="add mod ord">
          <ac:chgData name="Mohamed Ibissi" userId="90b6f8706c8cb808" providerId="LiveId" clId="{D4365AD1-7D00-42D7-8E47-6E306EC2F93A}" dt="2024-11-11T10:28:25.380" v="1726" actId="167"/>
          <ac:picMkLst>
            <pc:docMk/>
            <pc:sldMk cId="3487738216" sldId="2134806444"/>
            <ac:picMk id="8" creationId="{DE9F599B-A2A6-9E50-B474-74D26235B7D9}"/>
          </ac:picMkLst>
        </pc:picChg>
        <pc:picChg chg="del">
          <ac:chgData name="Mohamed Ibissi" userId="90b6f8706c8cb808" providerId="LiveId" clId="{D4365AD1-7D00-42D7-8E47-6E306EC2F93A}" dt="2024-11-09T05:27:57.363" v="209" actId="478"/>
          <ac:picMkLst>
            <pc:docMk/>
            <pc:sldMk cId="3487738216" sldId="2134806444"/>
            <ac:picMk id="8" creationId="{DF473F35-BA77-BEA1-A0BB-247429142AAD}"/>
          </ac:picMkLst>
        </pc:picChg>
      </pc:sldChg>
      <pc:sldChg chg="addSp delSp modSp mod">
        <pc:chgData name="Mohamed Ibissi" userId="90b6f8706c8cb808" providerId="LiveId" clId="{D4365AD1-7D00-42D7-8E47-6E306EC2F93A}" dt="2024-11-11T10:29:15.187" v="1744" actId="1037"/>
        <pc:sldMkLst>
          <pc:docMk/>
          <pc:sldMk cId="541530067" sldId="2134806445"/>
        </pc:sldMkLst>
        <pc:spChg chg="mod">
          <ac:chgData name="Mohamed Ibissi" userId="90b6f8706c8cb808" providerId="LiveId" clId="{D4365AD1-7D00-42D7-8E47-6E306EC2F93A}" dt="2024-11-09T05:55:56.841" v="410" actId="20577"/>
          <ac:spMkLst>
            <pc:docMk/>
            <pc:sldMk cId="541530067" sldId="2134806445"/>
            <ac:spMk id="2" creationId="{A6D5A2FC-763A-6D16-D68D-1EFCCBEFF64F}"/>
          </ac:spMkLst>
        </pc:spChg>
        <pc:spChg chg="mod">
          <ac:chgData name="Mohamed Ibissi" userId="90b6f8706c8cb808" providerId="LiveId" clId="{D4365AD1-7D00-42D7-8E47-6E306EC2F93A}" dt="2024-11-11T10:29:15.187" v="1744" actId="1037"/>
          <ac:spMkLst>
            <pc:docMk/>
            <pc:sldMk cId="541530067" sldId="2134806445"/>
            <ac:spMk id="4" creationId="{E84DC3BE-F850-5A0C-1F96-5FBE460E3672}"/>
          </ac:spMkLst>
        </pc:spChg>
        <pc:graphicFrameChg chg="del">
          <ac:chgData name="Mohamed Ibissi" userId="90b6f8706c8cb808" providerId="LiveId" clId="{D4365AD1-7D00-42D7-8E47-6E306EC2F93A}" dt="2024-11-11T10:28:59.571" v="1736" actId="478"/>
          <ac:graphicFrameMkLst>
            <pc:docMk/>
            <pc:sldMk cId="541530067" sldId="2134806445"/>
            <ac:graphicFrameMk id="7" creationId="{149ED88A-3354-754B-CB9E-559D374A51D4}"/>
          </ac:graphicFrameMkLst>
        </pc:graphicFrameChg>
        <pc:picChg chg="add mod ord">
          <ac:chgData name="Mohamed Ibissi" userId="90b6f8706c8cb808" providerId="LiveId" clId="{D4365AD1-7D00-42D7-8E47-6E306EC2F93A}" dt="2024-11-11T10:29:02.633" v="1738" actId="167"/>
          <ac:picMkLst>
            <pc:docMk/>
            <pc:sldMk cId="541530067" sldId="2134806445"/>
            <ac:picMk id="3" creationId="{216E8573-B299-E7D2-22E4-D3C3BC21E3E0}"/>
          </ac:picMkLst>
        </pc:picChg>
        <pc:picChg chg="mod">
          <ac:chgData name="Mohamed Ibissi" userId="90b6f8706c8cb808" providerId="LiveId" clId="{D4365AD1-7D00-42D7-8E47-6E306EC2F93A}" dt="2024-11-09T05:56:20.513" v="411" actId="14826"/>
          <ac:picMkLst>
            <pc:docMk/>
            <pc:sldMk cId="541530067" sldId="2134806445"/>
            <ac:picMk id="8" creationId="{1BD5EADE-22BD-E4E0-3CFF-5003DE2FB8CD}"/>
          </ac:picMkLst>
        </pc:picChg>
      </pc:sldChg>
      <pc:sldChg chg="addSp delSp modSp mod">
        <pc:chgData name="Mohamed Ibissi" userId="90b6f8706c8cb808" providerId="LiveId" clId="{D4365AD1-7D00-42D7-8E47-6E306EC2F93A}" dt="2024-11-11T10:29:40.860" v="1750" actId="167"/>
        <pc:sldMkLst>
          <pc:docMk/>
          <pc:sldMk cId="4234382696" sldId="2134806446"/>
        </pc:sldMkLst>
        <pc:graphicFrameChg chg="del">
          <ac:chgData name="Mohamed Ibissi" userId="90b6f8706c8cb808" providerId="LiveId" clId="{D4365AD1-7D00-42D7-8E47-6E306EC2F93A}" dt="2024-11-11T10:29:36.076" v="1748" actId="478"/>
          <ac:graphicFrameMkLst>
            <pc:docMk/>
            <pc:sldMk cId="4234382696" sldId="2134806446"/>
            <ac:graphicFrameMk id="4" creationId="{FB5958C6-426B-D9A9-7A5C-7AF5AD870B9D}"/>
          </ac:graphicFrameMkLst>
        </pc:graphicFrameChg>
        <pc:picChg chg="add mod ord">
          <ac:chgData name="Mohamed Ibissi" userId="90b6f8706c8cb808" providerId="LiveId" clId="{D4365AD1-7D00-42D7-8E47-6E306EC2F93A}" dt="2024-11-11T10:29:40.860" v="1750" actId="167"/>
          <ac:picMkLst>
            <pc:docMk/>
            <pc:sldMk cId="4234382696" sldId="2134806446"/>
            <ac:picMk id="5" creationId="{FA96F687-921B-EBA6-F495-C6E0989F8DC6}"/>
          </ac:picMkLst>
        </pc:picChg>
      </pc:sldChg>
      <pc:sldChg chg="addSp delSp modSp mod modAnim">
        <pc:chgData name="Mohamed Ibissi" userId="90b6f8706c8cb808" providerId="LiveId" clId="{D4365AD1-7D00-42D7-8E47-6E306EC2F93A}" dt="2024-11-11T10:30:09.334" v="1759" actId="167"/>
        <pc:sldMkLst>
          <pc:docMk/>
          <pc:sldMk cId="3658453428" sldId="2134806451"/>
        </pc:sldMkLst>
        <pc:spChg chg="add mod">
          <ac:chgData name="Mohamed Ibissi" userId="90b6f8706c8cb808" providerId="LiveId" clId="{D4365AD1-7D00-42D7-8E47-6E306EC2F93A}" dt="2024-11-09T08:42:08.921" v="1441" actId="1076"/>
          <ac:spMkLst>
            <pc:docMk/>
            <pc:sldMk cId="3658453428" sldId="2134806451"/>
            <ac:spMk id="2" creationId="{DCF42B76-2531-CDFA-D704-4AE2877489BD}"/>
          </ac:spMkLst>
        </pc:spChg>
        <pc:spChg chg="mod">
          <ac:chgData name="Mohamed Ibissi" userId="90b6f8706c8cb808" providerId="LiveId" clId="{D4365AD1-7D00-42D7-8E47-6E306EC2F93A}" dt="2024-11-09T06:02:33.387" v="477" actId="113"/>
          <ac:spMkLst>
            <pc:docMk/>
            <pc:sldMk cId="3658453428" sldId="2134806451"/>
            <ac:spMk id="3" creationId="{45F594E5-D3FC-33F1-E8E3-E4FB2E0AB674}"/>
          </ac:spMkLst>
        </pc:spChg>
        <pc:spChg chg="add mod">
          <ac:chgData name="Mohamed Ibissi" userId="90b6f8706c8cb808" providerId="LiveId" clId="{D4365AD1-7D00-42D7-8E47-6E306EC2F93A}" dt="2024-11-09T08:41:28.902" v="1439" actId="1076"/>
          <ac:spMkLst>
            <pc:docMk/>
            <pc:sldMk cId="3658453428" sldId="2134806451"/>
            <ac:spMk id="6" creationId="{80240345-E3BD-3247-AF39-4D43DED261FA}"/>
          </ac:spMkLst>
        </pc:spChg>
        <pc:graphicFrameChg chg="del">
          <ac:chgData name="Mohamed Ibissi" userId="90b6f8706c8cb808" providerId="LiveId" clId="{D4365AD1-7D00-42D7-8E47-6E306EC2F93A}" dt="2024-11-11T10:30:06.363" v="1757" actId="478"/>
          <ac:graphicFrameMkLst>
            <pc:docMk/>
            <pc:sldMk cId="3658453428" sldId="2134806451"/>
            <ac:graphicFrameMk id="4" creationId="{57CF7025-65CE-6CC2-9807-DEBB21CDFC8C}"/>
          </ac:graphicFrameMkLst>
        </pc:graphicFrameChg>
        <pc:picChg chg="del">
          <ac:chgData name="Mohamed Ibissi" userId="90b6f8706c8cb808" providerId="LiveId" clId="{D4365AD1-7D00-42D7-8E47-6E306EC2F93A}" dt="2024-11-09T06:01:31.254" v="430" actId="478"/>
          <ac:picMkLst>
            <pc:docMk/>
            <pc:sldMk cId="3658453428" sldId="2134806451"/>
            <ac:picMk id="2" creationId="{7F3B98BA-C943-9DDB-0C09-BC5B00263845}"/>
          </ac:picMkLst>
        </pc:picChg>
        <pc:picChg chg="add mod">
          <ac:chgData name="Mohamed Ibissi" userId="90b6f8706c8cb808" providerId="LiveId" clId="{D4365AD1-7D00-42D7-8E47-6E306EC2F93A}" dt="2024-11-09T06:03:02.620" v="478"/>
          <ac:picMkLst>
            <pc:docMk/>
            <pc:sldMk cId="3658453428" sldId="2134806451"/>
            <ac:picMk id="5" creationId="{616F512A-735F-6B8E-AF92-E48B6492C204}"/>
          </ac:picMkLst>
        </pc:picChg>
        <pc:picChg chg="add mod ord">
          <ac:chgData name="Mohamed Ibissi" userId="90b6f8706c8cb808" providerId="LiveId" clId="{D4365AD1-7D00-42D7-8E47-6E306EC2F93A}" dt="2024-11-11T10:30:09.334" v="1759" actId="167"/>
          <ac:picMkLst>
            <pc:docMk/>
            <pc:sldMk cId="3658453428" sldId="2134806451"/>
            <ac:picMk id="7" creationId="{D8C12C35-EE9E-46A9-5B3C-A022496C83EF}"/>
          </ac:picMkLst>
        </pc:picChg>
      </pc:sldChg>
      <pc:sldChg chg="del">
        <pc:chgData name="Mohamed Ibissi" userId="90b6f8706c8cb808" providerId="LiveId" clId="{D4365AD1-7D00-42D7-8E47-6E306EC2F93A}" dt="2024-11-09T06:09:56.002" v="518" actId="47"/>
        <pc:sldMkLst>
          <pc:docMk/>
          <pc:sldMk cId="296255193" sldId="2134806452"/>
        </pc:sldMkLst>
      </pc:sldChg>
      <pc:sldChg chg="addSp delSp modSp mod">
        <pc:chgData name="Mohamed Ibissi" userId="90b6f8706c8cb808" providerId="LiveId" clId="{D4365AD1-7D00-42D7-8E47-6E306EC2F93A}" dt="2024-11-11T10:35:42.867" v="1855" actId="167"/>
        <pc:sldMkLst>
          <pc:docMk/>
          <pc:sldMk cId="1392427934" sldId="2134806453"/>
        </pc:sldMkLst>
        <pc:spChg chg="mod">
          <ac:chgData name="Mohamed Ibissi" userId="90b6f8706c8cb808" providerId="LiveId" clId="{D4365AD1-7D00-42D7-8E47-6E306EC2F93A}" dt="2024-11-09T07:16:47.603" v="1015" actId="14100"/>
          <ac:spMkLst>
            <pc:docMk/>
            <pc:sldMk cId="1392427934" sldId="2134806453"/>
            <ac:spMk id="3" creationId="{C952CC27-6EC9-ACD6-1D17-286356C6FE08}"/>
          </ac:spMkLst>
        </pc:spChg>
        <pc:spChg chg="del mod">
          <ac:chgData name="Mohamed Ibissi" userId="90b6f8706c8cb808" providerId="LiveId" clId="{D4365AD1-7D00-42D7-8E47-6E306EC2F93A}" dt="2024-11-09T07:16:52.060" v="1017" actId="478"/>
          <ac:spMkLst>
            <pc:docMk/>
            <pc:sldMk cId="1392427934" sldId="2134806453"/>
            <ac:spMk id="7" creationId="{BFC91E47-4191-7CE1-F3AF-1F39F8D11FC7}"/>
          </ac:spMkLst>
        </pc:spChg>
        <pc:graphicFrameChg chg="del">
          <ac:chgData name="Mohamed Ibissi" userId="90b6f8706c8cb808" providerId="LiveId" clId="{D4365AD1-7D00-42D7-8E47-6E306EC2F93A}" dt="2024-11-11T10:35:38.660" v="1853" actId="478"/>
          <ac:graphicFrameMkLst>
            <pc:docMk/>
            <pc:sldMk cId="1392427934" sldId="2134806453"/>
            <ac:graphicFrameMk id="4" creationId="{A32DAA76-E301-9D9E-5B5C-DF922576BF59}"/>
          </ac:graphicFrameMkLst>
        </pc:graphicFrameChg>
        <pc:picChg chg="mod">
          <ac:chgData name="Mohamed Ibissi" userId="90b6f8706c8cb808" providerId="LiveId" clId="{D4365AD1-7D00-42D7-8E47-6E306EC2F93A}" dt="2024-11-09T07:16:38.786" v="1013" actId="14826"/>
          <ac:picMkLst>
            <pc:docMk/>
            <pc:sldMk cId="1392427934" sldId="2134806453"/>
            <ac:picMk id="2" creationId="{F5552D54-56AD-DAE5-6DFF-CC625CAFCF24}"/>
          </ac:picMkLst>
        </pc:picChg>
        <pc:picChg chg="add mod ord">
          <ac:chgData name="Mohamed Ibissi" userId="90b6f8706c8cb808" providerId="LiveId" clId="{D4365AD1-7D00-42D7-8E47-6E306EC2F93A}" dt="2024-11-11T10:35:42.867" v="1855" actId="167"/>
          <ac:picMkLst>
            <pc:docMk/>
            <pc:sldMk cId="1392427934" sldId="2134806453"/>
            <ac:picMk id="5" creationId="{82E7B1E3-FE5C-E85C-BBC5-3F23CEF7A53C}"/>
          </ac:picMkLst>
        </pc:picChg>
        <pc:picChg chg="add del">
          <ac:chgData name="Mohamed Ibissi" userId="90b6f8706c8cb808" providerId="LiveId" clId="{D4365AD1-7D00-42D7-8E47-6E306EC2F93A}" dt="2024-11-09T07:09:22.333" v="922" actId="478"/>
          <ac:picMkLst>
            <pc:docMk/>
            <pc:sldMk cId="1392427934" sldId="2134806453"/>
            <ac:picMk id="12" creationId="{34E343FD-CA2C-B54A-BB5D-56AB899E0826}"/>
          </ac:picMkLst>
        </pc:picChg>
      </pc:sldChg>
      <pc:sldChg chg="addSp delSp modSp mod">
        <pc:chgData name="Mohamed Ibissi" userId="90b6f8706c8cb808" providerId="LiveId" clId="{D4365AD1-7D00-42D7-8E47-6E306EC2F93A}" dt="2024-11-11T10:36:41.070" v="1867" actId="167"/>
        <pc:sldMkLst>
          <pc:docMk/>
          <pc:sldMk cId="1037867952" sldId="2134806458"/>
        </pc:sldMkLst>
        <pc:spChg chg="mod">
          <ac:chgData name="Mohamed Ibissi" userId="90b6f8706c8cb808" providerId="LiveId" clId="{D4365AD1-7D00-42D7-8E47-6E306EC2F93A}" dt="2024-11-09T07:27:47.045" v="1093" actId="20577"/>
          <ac:spMkLst>
            <pc:docMk/>
            <pc:sldMk cId="1037867952" sldId="2134806458"/>
            <ac:spMk id="7" creationId="{88A82FB8-6394-3A45-537A-EBFDB0AA9197}"/>
          </ac:spMkLst>
        </pc:spChg>
        <pc:graphicFrameChg chg="del">
          <ac:chgData name="Mohamed Ibissi" userId="90b6f8706c8cb808" providerId="LiveId" clId="{D4365AD1-7D00-42D7-8E47-6E306EC2F93A}" dt="2024-11-11T10:36:37.975" v="1865" actId="478"/>
          <ac:graphicFrameMkLst>
            <pc:docMk/>
            <pc:sldMk cId="1037867952" sldId="2134806458"/>
            <ac:graphicFrameMk id="4" creationId="{85F833C8-8CFA-FD6C-4B0C-5B98E6D204BE}"/>
          </ac:graphicFrameMkLst>
        </pc:graphicFrameChg>
        <pc:picChg chg="add mod ord">
          <ac:chgData name="Mohamed Ibissi" userId="90b6f8706c8cb808" providerId="LiveId" clId="{D4365AD1-7D00-42D7-8E47-6E306EC2F93A}" dt="2024-11-11T10:36:41.070" v="1867" actId="167"/>
          <ac:picMkLst>
            <pc:docMk/>
            <pc:sldMk cId="1037867952" sldId="2134806458"/>
            <ac:picMk id="2" creationId="{F213182F-AFA0-16D1-95CF-E86BF7187BA8}"/>
          </ac:picMkLst>
        </pc:picChg>
      </pc:sldChg>
      <pc:sldChg chg="addSp delSp modSp mod">
        <pc:chgData name="Mohamed Ibissi" userId="90b6f8706c8cb808" providerId="LiveId" clId="{D4365AD1-7D00-42D7-8E47-6E306EC2F93A}" dt="2024-11-11T17:04:51.030" v="2021"/>
        <pc:sldMkLst>
          <pc:docMk/>
          <pc:sldMk cId="1231704022" sldId="2134806459"/>
        </pc:sldMkLst>
        <pc:spChg chg="mod">
          <ac:chgData name="Mohamed Ibissi" userId="90b6f8706c8cb808" providerId="LiveId" clId="{D4365AD1-7D00-42D7-8E47-6E306EC2F93A}" dt="2024-11-09T07:29:59.584" v="1166" actId="20577"/>
          <ac:spMkLst>
            <pc:docMk/>
            <pc:sldMk cId="1231704022" sldId="2134806459"/>
            <ac:spMk id="2" creationId="{FE667980-5852-A4E1-CFAD-C55C6FE630C6}"/>
          </ac:spMkLst>
        </pc:spChg>
        <pc:spChg chg="del">
          <ac:chgData name="Mohamed Ibissi" userId="90b6f8706c8cb808" providerId="LiveId" clId="{D4365AD1-7D00-42D7-8E47-6E306EC2F93A}" dt="2024-11-09T07:28:06.093" v="1111" actId="478"/>
          <ac:spMkLst>
            <pc:docMk/>
            <pc:sldMk cId="1231704022" sldId="2134806459"/>
            <ac:spMk id="6" creationId="{E9EED466-3DC3-6A41-727B-63D812D7E67F}"/>
          </ac:spMkLst>
        </pc:spChg>
        <pc:spChg chg="add mod">
          <ac:chgData name="Mohamed Ibissi" userId="90b6f8706c8cb808" providerId="LiveId" clId="{D4365AD1-7D00-42D7-8E47-6E306EC2F93A}" dt="2024-11-09T07:32:31.505" v="1230" actId="164"/>
          <ac:spMkLst>
            <pc:docMk/>
            <pc:sldMk cId="1231704022" sldId="2134806459"/>
            <ac:spMk id="9" creationId="{D5DD6ECE-1370-6C96-BBF8-985335204212}"/>
          </ac:spMkLst>
        </pc:spChg>
        <pc:spChg chg="add mod">
          <ac:chgData name="Mohamed Ibissi" userId="90b6f8706c8cb808" providerId="LiveId" clId="{D4365AD1-7D00-42D7-8E47-6E306EC2F93A}" dt="2024-11-10T23:14:47.418" v="1534" actId="1076"/>
          <ac:spMkLst>
            <pc:docMk/>
            <pc:sldMk cId="1231704022" sldId="2134806459"/>
            <ac:spMk id="10" creationId="{84C40276-B96F-9ED3-4A5F-D9DCAD6BE91B}"/>
          </ac:spMkLst>
        </pc:spChg>
        <pc:spChg chg="add mod">
          <ac:chgData name="Mohamed Ibissi" userId="90b6f8706c8cb808" providerId="LiveId" clId="{D4365AD1-7D00-42D7-8E47-6E306EC2F93A}" dt="2024-11-10T23:14:47.418" v="1534" actId="1076"/>
          <ac:spMkLst>
            <pc:docMk/>
            <pc:sldMk cId="1231704022" sldId="2134806459"/>
            <ac:spMk id="11" creationId="{9820214B-A158-5418-3DEB-6FDEFB5FE9B5}"/>
          </ac:spMkLst>
        </pc:spChg>
        <pc:spChg chg="mod">
          <ac:chgData name="Mohamed Ibissi" userId="90b6f8706c8cb808" providerId="LiveId" clId="{D4365AD1-7D00-42D7-8E47-6E306EC2F93A}" dt="2024-11-11T17:04:51.030" v="2021"/>
          <ac:spMkLst>
            <pc:docMk/>
            <pc:sldMk cId="1231704022" sldId="2134806459"/>
            <ac:spMk id="13" creationId="{5C7EC4EF-CE9B-AAE0-07FE-78E2544CC1F2}"/>
          </ac:spMkLst>
        </pc:spChg>
        <pc:spChg chg="mod">
          <ac:chgData name="Mohamed Ibissi" userId="90b6f8706c8cb808" providerId="LiveId" clId="{D4365AD1-7D00-42D7-8E47-6E306EC2F93A}" dt="2024-11-11T17:04:51.030" v="2021"/>
          <ac:spMkLst>
            <pc:docMk/>
            <pc:sldMk cId="1231704022" sldId="2134806459"/>
            <ac:spMk id="15" creationId="{6CB7FE3A-5C31-5C79-05F4-6EED9AD99F11}"/>
          </ac:spMkLst>
        </pc:spChg>
        <pc:spChg chg="mod">
          <ac:chgData name="Mohamed Ibissi" userId="90b6f8706c8cb808" providerId="LiveId" clId="{D4365AD1-7D00-42D7-8E47-6E306EC2F93A}" dt="2024-11-11T17:04:51.030" v="2021"/>
          <ac:spMkLst>
            <pc:docMk/>
            <pc:sldMk cId="1231704022" sldId="2134806459"/>
            <ac:spMk id="16" creationId="{1FB4B6B1-5800-E791-125B-98CC75B558A2}"/>
          </ac:spMkLst>
        </pc:spChg>
        <pc:grpChg chg="add mod">
          <ac:chgData name="Mohamed Ibissi" userId="90b6f8706c8cb808" providerId="LiveId" clId="{D4365AD1-7D00-42D7-8E47-6E306EC2F93A}" dt="2024-11-11T17:04:51.030" v="2021"/>
          <ac:grpSpMkLst>
            <pc:docMk/>
            <pc:sldMk cId="1231704022" sldId="2134806459"/>
            <ac:grpSpMk id="7" creationId="{9CB9CC6D-B332-7B64-F976-A418F4CBD8C6}"/>
          </ac:grpSpMkLst>
        </pc:grpChg>
        <pc:grpChg chg="add del mod">
          <ac:chgData name="Mohamed Ibissi" userId="90b6f8706c8cb808" providerId="LiveId" clId="{D4365AD1-7D00-42D7-8E47-6E306EC2F93A}" dt="2024-11-11T17:04:50.327" v="2020" actId="478"/>
          <ac:grpSpMkLst>
            <pc:docMk/>
            <pc:sldMk cId="1231704022" sldId="2134806459"/>
            <ac:grpSpMk id="12" creationId="{5C87424D-92EB-3F9E-B560-DE6580446591}"/>
          </ac:grpSpMkLst>
        </pc:grpChg>
        <pc:graphicFrameChg chg="del">
          <ac:chgData name="Mohamed Ibissi" userId="90b6f8706c8cb808" providerId="LiveId" clId="{D4365AD1-7D00-42D7-8E47-6E306EC2F93A}" dt="2024-11-11T10:36:47.714" v="1868" actId="478"/>
          <ac:graphicFrameMkLst>
            <pc:docMk/>
            <pc:sldMk cId="1231704022" sldId="2134806459"/>
            <ac:graphicFrameMk id="4" creationId="{CEEBC6CF-D30F-FD7D-620C-97A754884929}"/>
          </ac:graphicFrameMkLst>
        </pc:graphicFrameChg>
        <pc:picChg chg="add mod">
          <ac:chgData name="Mohamed Ibissi" userId="90b6f8706c8cb808" providerId="LiveId" clId="{D4365AD1-7D00-42D7-8E47-6E306EC2F93A}" dt="2024-11-09T07:32:31.505" v="1230" actId="164"/>
          <ac:picMkLst>
            <pc:docMk/>
            <pc:sldMk cId="1231704022" sldId="2134806459"/>
            <ac:picMk id="3" creationId="{00F5D831-289E-3DBC-9600-F1B649BB38B6}"/>
          </ac:picMkLst>
        </pc:picChg>
        <pc:picChg chg="add mod ord">
          <ac:chgData name="Mohamed Ibissi" userId="90b6f8706c8cb808" providerId="LiveId" clId="{D4365AD1-7D00-42D7-8E47-6E306EC2F93A}" dt="2024-11-11T10:36:50.670" v="1870" actId="167"/>
          <ac:picMkLst>
            <pc:docMk/>
            <pc:sldMk cId="1231704022" sldId="2134806459"/>
            <ac:picMk id="6" creationId="{C3AF0AE3-4CFA-79A5-761A-334A19594A18}"/>
          </ac:picMkLst>
        </pc:picChg>
        <pc:picChg chg="del">
          <ac:chgData name="Mohamed Ibissi" userId="90b6f8706c8cb808" providerId="LiveId" clId="{D4365AD1-7D00-42D7-8E47-6E306EC2F93A}" dt="2024-11-09T07:28:03.419" v="1110" actId="478"/>
          <ac:picMkLst>
            <pc:docMk/>
            <pc:sldMk cId="1231704022" sldId="2134806459"/>
            <ac:picMk id="7" creationId="{10EB54AB-3F83-200F-9E24-6912B40EF152}"/>
          </ac:picMkLst>
        </pc:picChg>
        <pc:picChg chg="mod">
          <ac:chgData name="Mohamed Ibissi" userId="90b6f8706c8cb808" providerId="LiveId" clId="{D4365AD1-7D00-42D7-8E47-6E306EC2F93A}" dt="2024-11-11T17:04:51.030" v="2021"/>
          <ac:picMkLst>
            <pc:docMk/>
            <pc:sldMk cId="1231704022" sldId="2134806459"/>
            <ac:picMk id="8" creationId="{71169F7D-F462-2CD3-4CD5-5B92FAB6D16B}"/>
          </ac:picMkLst>
        </pc:picChg>
        <pc:picChg chg="add del mod">
          <ac:chgData name="Mohamed Ibissi" userId="90b6f8706c8cb808" providerId="LiveId" clId="{D4365AD1-7D00-42D7-8E47-6E306EC2F93A}" dt="2024-11-09T07:28:51.869" v="1115" actId="478"/>
          <ac:picMkLst>
            <pc:docMk/>
            <pc:sldMk cId="1231704022" sldId="2134806459"/>
            <ac:picMk id="8" creationId="{735557C7-ACA2-E107-303F-FB4711029ED8}"/>
          </ac:picMkLst>
        </pc:picChg>
        <pc:cxnChg chg="add mod">
          <ac:chgData name="Mohamed Ibissi" userId="90b6f8706c8cb808" providerId="LiveId" clId="{D4365AD1-7D00-42D7-8E47-6E306EC2F93A}" dt="2024-11-11T17:04:31.439" v="2005"/>
          <ac:cxnSpMkLst>
            <pc:docMk/>
            <pc:sldMk cId="1231704022" sldId="2134806459"/>
            <ac:cxnSpMk id="4" creationId="{668D53BD-D2D6-DDA7-869D-02B8454299A6}"/>
          </ac:cxnSpMkLst>
        </pc:cxnChg>
        <pc:cxnChg chg="add del mod">
          <ac:chgData name="Mohamed Ibissi" userId="90b6f8706c8cb808" providerId="LiveId" clId="{D4365AD1-7D00-42D7-8E47-6E306EC2F93A}" dt="2024-11-11T17:04:30.673" v="2004" actId="478"/>
          <ac:cxnSpMkLst>
            <pc:docMk/>
            <pc:sldMk cId="1231704022" sldId="2134806459"/>
            <ac:cxnSpMk id="14" creationId="{83CFECED-5EF6-7821-EF8E-6AB5C448BF44}"/>
          </ac:cxnSpMkLst>
        </pc:cxnChg>
      </pc:sldChg>
      <pc:sldChg chg="addSp delSp modSp mod">
        <pc:chgData name="Mohamed Ibissi" userId="90b6f8706c8cb808" providerId="LiveId" clId="{D4365AD1-7D00-42D7-8E47-6E306EC2F93A}" dt="2024-11-12T14:36:23.680" v="2140" actId="20577"/>
        <pc:sldMkLst>
          <pc:docMk/>
          <pc:sldMk cId="2227613998" sldId="2134806462"/>
        </pc:sldMkLst>
        <pc:spChg chg="del">
          <ac:chgData name="Mohamed Ibissi" userId="90b6f8706c8cb808" providerId="LiveId" clId="{D4365AD1-7D00-42D7-8E47-6E306EC2F93A}" dt="2024-11-09T07:36:57.117" v="1291" actId="478"/>
          <ac:spMkLst>
            <pc:docMk/>
            <pc:sldMk cId="2227613998" sldId="2134806462"/>
            <ac:spMk id="3" creationId="{7FD26E42-4ECE-F393-58C5-8ABBE77E40BC}"/>
          </ac:spMkLst>
        </pc:spChg>
        <pc:spChg chg="del">
          <ac:chgData name="Mohamed Ibissi" userId="90b6f8706c8cb808" providerId="LiveId" clId="{D4365AD1-7D00-42D7-8E47-6E306EC2F93A}" dt="2024-11-09T07:36:58.946" v="1292" actId="478"/>
          <ac:spMkLst>
            <pc:docMk/>
            <pc:sldMk cId="2227613998" sldId="2134806462"/>
            <ac:spMk id="5" creationId="{00D757C0-C329-4A11-0EC1-E1DAFA4C341E}"/>
          </ac:spMkLst>
        </pc:spChg>
        <pc:spChg chg="mod">
          <ac:chgData name="Mohamed Ibissi" userId="90b6f8706c8cb808" providerId="LiveId" clId="{D4365AD1-7D00-42D7-8E47-6E306EC2F93A}" dt="2024-11-12T14:36:23.680" v="2140" actId="20577"/>
          <ac:spMkLst>
            <pc:docMk/>
            <pc:sldMk cId="2227613998" sldId="2134806462"/>
            <ac:spMk id="6" creationId="{EE9FEE25-8CFA-0EDC-8976-268E8054EACB}"/>
          </ac:spMkLst>
        </pc:spChg>
        <pc:spChg chg="add mod">
          <ac:chgData name="Mohamed Ibissi" userId="90b6f8706c8cb808" providerId="LiveId" clId="{D4365AD1-7D00-42D7-8E47-6E306EC2F93A}" dt="2024-11-09T07:37:08.325" v="1293"/>
          <ac:spMkLst>
            <pc:docMk/>
            <pc:sldMk cId="2227613998" sldId="2134806462"/>
            <ac:spMk id="8" creationId="{FFC2136F-6BE4-7CD5-3FE2-BA3B13256C5C}"/>
          </ac:spMkLst>
        </pc:spChg>
        <pc:spChg chg="add mod">
          <ac:chgData name="Mohamed Ibissi" userId="90b6f8706c8cb808" providerId="LiveId" clId="{D4365AD1-7D00-42D7-8E47-6E306EC2F93A}" dt="2024-11-09T07:37:08.325" v="1293"/>
          <ac:spMkLst>
            <pc:docMk/>
            <pc:sldMk cId="2227613998" sldId="2134806462"/>
            <ac:spMk id="9" creationId="{20A6CB25-DDFA-588B-72D1-9C502972B03C}"/>
          </ac:spMkLst>
        </pc:spChg>
        <pc:graphicFrameChg chg="del">
          <ac:chgData name="Mohamed Ibissi" userId="90b6f8706c8cb808" providerId="LiveId" clId="{D4365AD1-7D00-42D7-8E47-6E306EC2F93A}" dt="2024-11-11T10:37:05.976" v="1874" actId="478"/>
          <ac:graphicFrameMkLst>
            <pc:docMk/>
            <pc:sldMk cId="2227613998" sldId="2134806462"/>
            <ac:graphicFrameMk id="4" creationId="{00107951-6D04-F504-4DA1-8A5D674DB5F5}"/>
          </ac:graphicFrameMkLst>
        </pc:graphicFrameChg>
        <pc:picChg chg="add mod ord">
          <ac:chgData name="Mohamed Ibissi" userId="90b6f8706c8cb808" providerId="LiveId" clId="{D4365AD1-7D00-42D7-8E47-6E306EC2F93A}" dt="2024-11-11T10:37:09.369" v="1876" actId="167"/>
          <ac:picMkLst>
            <pc:docMk/>
            <pc:sldMk cId="2227613998" sldId="2134806462"/>
            <ac:picMk id="2" creationId="{761A1820-A122-1DBA-39FA-B674D4238877}"/>
          </ac:picMkLst>
        </pc:picChg>
        <pc:picChg chg="del">
          <ac:chgData name="Mohamed Ibissi" userId="90b6f8706c8cb808" providerId="LiveId" clId="{D4365AD1-7D00-42D7-8E47-6E306EC2F93A}" dt="2024-11-09T07:36:54.523" v="1290" actId="478"/>
          <ac:picMkLst>
            <pc:docMk/>
            <pc:sldMk cId="2227613998" sldId="2134806462"/>
            <ac:picMk id="2" creationId="{C7F2BC18-6ADA-D2EA-85E9-599D09258ABB}"/>
          </ac:picMkLst>
        </pc:picChg>
        <pc:picChg chg="add mod">
          <ac:chgData name="Mohamed Ibissi" userId="90b6f8706c8cb808" providerId="LiveId" clId="{D4365AD1-7D00-42D7-8E47-6E306EC2F93A}" dt="2024-11-09T07:37:08.325" v="1293"/>
          <ac:picMkLst>
            <pc:docMk/>
            <pc:sldMk cId="2227613998" sldId="2134806462"/>
            <ac:picMk id="7" creationId="{A099D83F-2FEA-E3EC-172E-4DD617A2F27F}"/>
          </ac:picMkLst>
        </pc:picChg>
      </pc:sldChg>
      <pc:sldChg chg="addSp delSp modSp mod">
        <pc:chgData name="Mohamed Ibissi" userId="90b6f8706c8cb808" providerId="LiveId" clId="{D4365AD1-7D00-42D7-8E47-6E306EC2F93A}" dt="2024-11-11T10:37:17.875" v="1879" actId="167"/>
        <pc:sldMkLst>
          <pc:docMk/>
          <pc:sldMk cId="2453061601" sldId="2134806463"/>
        </pc:sldMkLst>
        <pc:graphicFrameChg chg="del">
          <ac:chgData name="Mohamed Ibissi" userId="90b6f8706c8cb808" providerId="LiveId" clId="{D4365AD1-7D00-42D7-8E47-6E306EC2F93A}" dt="2024-11-11T10:37:14.935" v="1877" actId="478"/>
          <ac:graphicFrameMkLst>
            <pc:docMk/>
            <pc:sldMk cId="2453061601" sldId="2134806463"/>
            <ac:graphicFrameMk id="4" creationId="{24841F89-3E93-CA66-7FC6-798F22C8B89D}"/>
          </ac:graphicFrameMkLst>
        </pc:graphicFrameChg>
        <pc:picChg chg="add mod ord">
          <ac:chgData name="Mohamed Ibissi" userId="90b6f8706c8cb808" providerId="LiveId" clId="{D4365AD1-7D00-42D7-8E47-6E306EC2F93A}" dt="2024-11-11T10:37:17.875" v="1879" actId="167"/>
          <ac:picMkLst>
            <pc:docMk/>
            <pc:sldMk cId="2453061601" sldId="2134806463"/>
            <ac:picMk id="5" creationId="{0C3FD2D4-3C5B-769E-954C-06082EDFCAEB}"/>
          </ac:picMkLst>
        </pc:picChg>
      </pc:sldChg>
      <pc:sldChg chg="addSp delSp modSp mod">
        <pc:chgData name="Mohamed Ibissi" userId="90b6f8706c8cb808" providerId="LiveId" clId="{D4365AD1-7D00-42D7-8E47-6E306EC2F93A}" dt="2024-11-11T10:39:22.408" v="1906" actId="167"/>
        <pc:sldMkLst>
          <pc:docMk/>
          <pc:sldMk cId="1402262612" sldId="2134806475"/>
        </pc:sldMkLst>
        <pc:spChg chg="add mod">
          <ac:chgData name="Mohamed Ibissi" userId="90b6f8706c8cb808" providerId="LiveId" clId="{D4365AD1-7D00-42D7-8E47-6E306EC2F93A}" dt="2024-11-09T08:17:30.532" v="1359"/>
          <ac:spMkLst>
            <pc:docMk/>
            <pc:sldMk cId="1402262612" sldId="2134806475"/>
            <ac:spMk id="5" creationId="{FC8C37B2-38D5-C2E0-B798-F3FF94D21FB1}"/>
          </ac:spMkLst>
        </pc:spChg>
        <pc:spChg chg="del">
          <ac:chgData name="Mohamed Ibissi" userId="90b6f8706c8cb808" providerId="LiveId" clId="{D4365AD1-7D00-42D7-8E47-6E306EC2F93A}" dt="2024-11-09T08:17:18.019" v="1358" actId="478"/>
          <ac:spMkLst>
            <pc:docMk/>
            <pc:sldMk cId="1402262612" sldId="2134806475"/>
            <ac:spMk id="8" creationId="{BD712CC9-5C7C-457D-C043-979CB2238423}"/>
          </ac:spMkLst>
        </pc:spChg>
        <pc:graphicFrameChg chg="del">
          <ac:chgData name="Mohamed Ibissi" userId="90b6f8706c8cb808" providerId="LiveId" clId="{D4365AD1-7D00-42D7-8E47-6E306EC2F93A}" dt="2024-11-11T10:39:18.952" v="1904" actId="478"/>
          <ac:graphicFrameMkLst>
            <pc:docMk/>
            <pc:sldMk cId="1402262612" sldId="2134806475"/>
            <ac:graphicFrameMk id="3" creationId="{203EB539-57BC-68F8-6321-8228FDCBFA60}"/>
          </ac:graphicFrameMkLst>
        </pc:graphicFrameChg>
        <pc:picChg chg="add mod ord">
          <ac:chgData name="Mohamed Ibissi" userId="90b6f8706c8cb808" providerId="LiveId" clId="{D4365AD1-7D00-42D7-8E47-6E306EC2F93A}" dt="2024-11-11T10:39:22.408" v="1906" actId="167"/>
          <ac:picMkLst>
            <pc:docMk/>
            <pc:sldMk cId="1402262612" sldId="2134806475"/>
            <ac:picMk id="4" creationId="{16B16724-1CC2-9183-5EFB-211004997037}"/>
          </ac:picMkLst>
        </pc:picChg>
        <pc:picChg chg="del">
          <ac:chgData name="Mohamed Ibissi" userId="90b6f8706c8cb808" providerId="LiveId" clId="{D4365AD1-7D00-42D7-8E47-6E306EC2F93A}" dt="2024-11-09T08:17:18.019" v="1358" actId="478"/>
          <ac:picMkLst>
            <pc:docMk/>
            <pc:sldMk cId="1402262612" sldId="2134806475"/>
            <ac:picMk id="4" creationId="{A2808CFF-E975-3664-2C80-F8EDD115D2DB}"/>
          </ac:picMkLst>
        </pc:picChg>
        <pc:picChg chg="add mod">
          <ac:chgData name="Mohamed Ibissi" userId="90b6f8706c8cb808" providerId="LiveId" clId="{D4365AD1-7D00-42D7-8E47-6E306EC2F93A}" dt="2024-11-09T08:17:30.532" v="1359"/>
          <ac:picMkLst>
            <pc:docMk/>
            <pc:sldMk cId="1402262612" sldId="2134806475"/>
            <ac:picMk id="6" creationId="{A6DE565F-A82D-F8E0-E635-799219B4A50A}"/>
          </ac:picMkLst>
        </pc:picChg>
      </pc:sldChg>
      <pc:sldChg chg="addSp delSp modSp mod">
        <pc:chgData name="Mohamed Ibissi" userId="90b6f8706c8cb808" providerId="LiveId" clId="{D4365AD1-7D00-42D7-8E47-6E306EC2F93A}" dt="2024-11-11T10:37:26.552" v="1882" actId="167"/>
        <pc:sldMkLst>
          <pc:docMk/>
          <pc:sldMk cId="3334976781" sldId="2134806477"/>
        </pc:sldMkLst>
        <pc:graphicFrameChg chg="del">
          <ac:chgData name="Mohamed Ibissi" userId="90b6f8706c8cb808" providerId="LiveId" clId="{D4365AD1-7D00-42D7-8E47-6E306EC2F93A}" dt="2024-11-11T10:37:23.097" v="1880" actId="478"/>
          <ac:graphicFrameMkLst>
            <pc:docMk/>
            <pc:sldMk cId="3334976781" sldId="2134806477"/>
            <ac:graphicFrameMk id="4" creationId="{F3370F9D-7286-9CA3-8BC2-8F08347E08E2}"/>
          </ac:graphicFrameMkLst>
        </pc:graphicFrameChg>
        <pc:picChg chg="add mod ord">
          <ac:chgData name="Mohamed Ibissi" userId="90b6f8706c8cb808" providerId="LiveId" clId="{D4365AD1-7D00-42D7-8E47-6E306EC2F93A}" dt="2024-11-11T10:37:26.552" v="1882" actId="167"/>
          <ac:picMkLst>
            <pc:docMk/>
            <pc:sldMk cId="3334976781" sldId="2134806477"/>
            <ac:picMk id="3" creationId="{D379F0FA-6C6E-14FD-0D27-DD66C32793F2}"/>
          </ac:picMkLst>
        </pc:picChg>
      </pc:sldChg>
      <pc:sldChg chg="addSp delSp modSp mod delAnim modAnim">
        <pc:chgData name="Mohamed Ibissi" userId="90b6f8706c8cb808" providerId="LiveId" clId="{D4365AD1-7D00-42D7-8E47-6E306EC2F93A}" dt="2024-11-11T10:39:30.112" v="1909" actId="167"/>
        <pc:sldMkLst>
          <pc:docMk/>
          <pc:sldMk cId="2994503641" sldId="2134806489"/>
        </pc:sldMkLst>
        <pc:spChg chg="del">
          <ac:chgData name="Mohamed Ibissi" userId="90b6f8706c8cb808" providerId="LiveId" clId="{D4365AD1-7D00-42D7-8E47-6E306EC2F93A}" dt="2024-11-09T08:17:48.058" v="1361" actId="478"/>
          <ac:spMkLst>
            <pc:docMk/>
            <pc:sldMk cId="2994503641" sldId="2134806489"/>
            <ac:spMk id="5" creationId="{E30C60C0-9712-5E54-3192-CD38CCFD0D98}"/>
          </ac:spMkLst>
        </pc:spChg>
        <pc:spChg chg="del">
          <ac:chgData name="Mohamed Ibissi" userId="90b6f8706c8cb808" providerId="LiveId" clId="{D4365AD1-7D00-42D7-8E47-6E306EC2F93A}" dt="2024-11-09T08:17:48.058" v="1361" actId="478"/>
          <ac:spMkLst>
            <pc:docMk/>
            <pc:sldMk cId="2994503641" sldId="2134806489"/>
            <ac:spMk id="6" creationId="{C8EE6E0A-268E-8783-7AC1-CEA033CC5716}"/>
          </ac:spMkLst>
        </pc:spChg>
        <pc:spChg chg="del">
          <ac:chgData name="Mohamed Ibissi" userId="90b6f8706c8cb808" providerId="LiveId" clId="{D4365AD1-7D00-42D7-8E47-6E306EC2F93A}" dt="2024-11-09T08:17:48.058" v="1361" actId="478"/>
          <ac:spMkLst>
            <pc:docMk/>
            <pc:sldMk cId="2994503641" sldId="2134806489"/>
            <ac:spMk id="7" creationId="{D8705A21-1BD8-CB6A-04CF-A4AFF1259723}"/>
          </ac:spMkLst>
        </pc:spChg>
        <pc:spChg chg="del">
          <ac:chgData name="Mohamed Ibissi" userId="90b6f8706c8cb808" providerId="LiveId" clId="{D4365AD1-7D00-42D7-8E47-6E306EC2F93A}" dt="2024-11-09T08:17:48.058" v="1361" actId="478"/>
          <ac:spMkLst>
            <pc:docMk/>
            <pc:sldMk cId="2994503641" sldId="2134806489"/>
            <ac:spMk id="8" creationId="{D3012CC9-7FB9-81EC-EF42-F02D83499E35}"/>
          </ac:spMkLst>
        </pc:spChg>
        <pc:graphicFrameChg chg="del">
          <ac:chgData name="Mohamed Ibissi" userId="90b6f8706c8cb808" providerId="LiveId" clId="{D4365AD1-7D00-42D7-8E47-6E306EC2F93A}" dt="2024-11-11T10:39:27.033" v="1907" actId="478"/>
          <ac:graphicFrameMkLst>
            <pc:docMk/>
            <pc:sldMk cId="2994503641" sldId="2134806489"/>
            <ac:graphicFrameMk id="3" creationId="{B528A9FB-10BB-9B69-82EA-29551CDF759E}"/>
          </ac:graphicFrameMkLst>
        </pc:graphicFrameChg>
        <pc:picChg chg="add mod">
          <ac:chgData name="Mohamed Ibissi" userId="90b6f8706c8cb808" providerId="LiveId" clId="{D4365AD1-7D00-42D7-8E47-6E306EC2F93A}" dt="2024-11-09T08:17:58.533" v="1362"/>
          <ac:picMkLst>
            <pc:docMk/>
            <pc:sldMk cId="2994503641" sldId="2134806489"/>
            <ac:picMk id="2" creationId="{BDB79508-F9A9-2A76-3C31-1DDEE00B5B69}"/>
          </ac:picMkLst>
        </pc:picChg>
        <pc:picChg chg="add mod ord">
          <ac:chgData name="Mohamed Ibissi" userId="90b6f8706c8cb808" providerId="LiveId" clId="{D4365AD1-7D00-42D7-8E47-6E306EC2F93A}" dt="2024-11-11T10:39:30.112" v="1909" actId="167"/>
          <ac:picMkLst>
            <pc:docMk/>
            <pc:sldMk cId="2994503641" sldId="2134806489"/>
            <ac:picMk id="4" creationId="{0D23E5E8-5BA5-6B2C-2740-0B58421B550B}"/>
          </ac:picMkLst>
        </pc:picChg>
        <pc:picChg chg="del">
          <ac:chgData name="Mohamed Ibissi" userId="90b6f8706c8cb808" providerId="LiveId" clId="{D4365AD1-7D00-42D7-8E47-6E306EC2F93A}" dt="2024-11-09T08:17:43.135" v="1360" actId="478"/>
          <ac:picMkLst>
            <pc:docMk/>
            <pc:sldMk cId="2994503641" sldId="2134806489"/>
            <ac:picMk id="4" creationId="{97806468-A170-05B5-4E12-65B8ECC68CC2}"/>
          </ac:picMkLst>
        </pc:picChg>
        <pc:picChg chg="add mod">
          <ac:chgData name="Mohamed Ibissi" userId="90b6f8706c8cb808" providerId="LiveId" clId="{D4365AD1-7D00-42D7-8E47-6E306EC2F93A}" dt="2024-11-09T08:17:58.533" v="1362"/>
          <ac:picMkLst>
            <pc:docMk/>
            <pc:sldMk cId="2994503641" sldId="2134806489"/>
            <ac:picMk id="9" creationId="{9E224191-F9A6-14EE-520C-A3FEA031F020}"/>
          </ac:picMkLst>
        </pc:picChg>
        <pc:picChg chg="add mod">
          <ac:chgData name="Mohamed Ibissi" userId="90b6f8706c8cb808" providerId="LiveId" clId="{D4365AD1-7D00-42D7-8E47-6E306EC2F93A}" dt="2024-11-09T08:17:58.533" v="1362"/>
          <ac:picMkLst>
            <pc:docMk/>
            <pc:sldMk cId="2994503641" sldId="2134806489"/>
            <ac:picMk id="10" creationId="{FE99C7B1-EFB1-CF46-9271-CBD9121A22B5}"/>
          </ac:picMkLst>
        </pc:picChg>
        <pc:picChg chg="add mod">
          <ac:chgData name="Mohamed Ibissi" userId="90b6f8706c8cb808" providerId="LiveId" clId="{D4365AD1-7D00-42D7-8E47-6E306EC2F93A}" dt="2024-11-09T08:17:58.533" v="1362"/>
          <ac:picMkLst>
            <pc:docMk/>
            <pc:sldMk cId="2994503641" sldId="2134806489"/>
            <ac:picMk id="11" creationId="{FFBB0007-0207-46EA-F385-4C314982E4F8}"/>
          </ac:picMkLst>
        </pc:picChg>
        <pc:picChg chg="add mod">
          <ac:chgData name="Mohamed Ibissi" userId="90b6f8706c8cb808" providerId="LiveId" clId="{D4365AD1-7D00-42D7-8E47-6E306EC2F93A}" dt="2024-11-09T08:17:58.533" v="1362"/>
          <ac:picMkLst>
            <pc:docMk/>
            <pc:sldMk cId="2994503641" sldId="2134806489"/>
            <ac:picMk id="12" creationId="{1AEC72F0-DEAC-D8CC-6CD6-6937BAAB8B3B}"/>
          </ac:picMkLst>
        </pc:picChg>
        <pc:picChg chg="add mod">
          <ac:chgData name="Mohamed Ibissi" userId="90b6f8706c8cb808" providerId="LiveId" clId="{D4365AD1-7D00-42D7-8E47-6E306EC2F93A}" dt="2024-11-09T08:17:58.533" v="1362"/>
          <ac:picMkLst>
            <pc:docMk/>
            <pc:sldMk cId="2994503641" sldId="2134806489"/>
            <ac:picMk id="14" creationId="{12779804-ACD7-388A-529D-C815E0DDC993}"/>
          </ac:picMkLst>
        </pc:picChg>
      </pc:sldChg>
      <pc:sldChg chg="addSp delSp modSp mod delAnim modAnim">
        <pc:chgData name="Mohamed Ibissi" userId="90b6f8706c8cb808" providerId="LiveId" clId="{D4365AD1-7D00-42D7-8E47-6E306EC2F93A}" dt="2024-11-12T11:01:09.317" v="2094" actId="1036"/>
        <pc:sldMkLst>
          <pc:docMk/>
          <pc:sldMk cId="2739923162" sldId="2134806494"/>
        </pc:sldMkLst>
        <pc:spChg chg="mod">
          <ac:chgData name="Mohamed Ibissi" userId="90b6f8706c8cb808" providerId="LiveId" clId="{D4365AD1-7D00-42D7-8E47-6E306EC2F93A}" dt="2024-11-12T10:59:53.338" v="2070"/>
          <ac:spMkLst>
            <pc:docMk/>
            <pc:sldMk cId="2739923162" sldId="2134806494"/>
            <ac:spMk id="6" creationId="{6AC110BD-FAE7-FB18-66F9-31705123B5B4}"/>
          </ac:spMkLst>
        </pc:spChg>
        <pc:spChg chg="mod">
          <ac:chgData name="Mohamed Ibissi" userId="90b6f8706c8cb808" providerId="LiveId" clId="{D4365AD1-7D00-42D7-8E47-6E306EC2F93A}" dt="2024-11-12T10:59:53.338" v="2070"/>
          <ac:spMkLst>
            <pc:docMk/>
            <pc:sldMk cId="2739923162" sldId="2134806494"/>
            <ac:spMk id="7" creationId="{31765A61-2B96-ABE2-B9A3-D50DF6D42579}"/>
          </ac:spMkLst>
        </pc:spChg>
        <pc:spChg chg="mod">
          <ac:chgData name="Mohamed Ibissi" userId="90b6f8706c8cb808" providerId="LiveId" clId="{D4365AD1-7D00-42D7-8E47-6E306EC2F93A}" dt="2024-11-09T08:21:44.129" v="1374" actId="20577"/>
          <ac:spMkLst>
            <pc:docMk/>
            <pc:sldMk cId="2739923162" sldId="2134806494"/>
            <ac:spMk id="8" creationId="{B1FD324B-2FA8-B5A1-4D60-50F18059E1A4}"/>
          </ac:spMkLst>
        </pc:spChg>
        <pc:spChg chg="mod">
          <ac:chgData name="Mohamed Ibissi" userId="90b6f8706c8cb808" providerId="LiveId" clId="{D4365AD1-7D00-42D7-8E47-6E306EC2F93A}" dt="2024-11-12T10:59:53.338" v="2070"/>
          <ac:spMkLst>
            <pc:docMk/>
            <pc:sldMk cId="2739923162" sldId="2134806494"/>
            <ac:spMk id="9" creationId="{406F4C81-D16F-3AF8-F720-21ACC289723D}"/>
          </ac:spMkLst>
        </pc:spChg>
        <pc:spChg chg="mod">
          <ac:chgData name="Mohamed Ibissi" userId="90b6f8706c8cb808" providerId="LiveId" clId="{D4365AD1-7D00-42D7-8E47-6E306EC2F93A}" dt="2024-11-12T10:59:53.338" v="2070"/>
          <ac:spMkLst>
            <pc:docMk/>
            <pc:sldMk cId="2739923162" sldId="2134806494"/>
            <ac:spMk id="13" creationId="{E4D660DB-F339-AF2A-119C-06B5F69ED7B3}"/>
          </ac:spMkLst>
        </pc:spChg>
        <pc:spChg chg="mod">
          <ac:chgData name="Mohamed Ibissi" userId="90b6f8706c8cb808" providerId="LiveId" clId="{D4365AD1-7D00-42D7-8E47-6E306EC2F93A}" dt="2024-11-12T10:59:53.338" v="2070"/>
          <ac:spMkLst>
            <pc:docMk/>
            <pc:sldMk cId="2739923162" sldId="2134806494"/>
            <ac:spMk id="14" creationId="{4F76C75F-99F7-CFCB-7288-A40DF6EBA0A8}"/>
          </ac:spMkLst>
        </pc:spChg>
        <pc:spChg chg="mod">
          <ac:chgData name="Mohamed Ibissi" userId="90b6f8706c8cb808" providerId="LiveId" clId="{D4365AD1-7D00-42D7-8E47-6E306EC2F93A}" dt="2024-11-12T10:59:53.338" v="2070"/>
          <ac:spMkLst>
            <pc:docMk/>
            <pc:sldMk cId="2739923162" sldId="2134806494"/>
            <ac:spMk id="15" creationId="{A3BD8CB0-B9C7-4483-8221-6CB04F0817C9}"/>
          </ac:spMkLst>
        </pc:spChg>
        <pc:spChg chg="mod">
          <ac:chgData name="Mohamed Ibissi" userId="90b6f8706c8cb808" providerId="LiveId" clId="{D4365AD1-7D00-42D7-8E47-6E306EC2F93A}" dt="2024-11-12T10:59:53.338" v="2070"/>
          <ac:spMkLst>
            <pc:docMk/>
            <pc:sldMk cId="2739923162" sldId="2134806494"/>
            <ac:spMk id="18" creationId="{0BAF3591-FB9D-6593-2011-C124D97BF236}"/>
          </ac:spMkLst>
        </pc:spChg>
        <pc:spChg chg="mod">
          <ac:chgData name="Mohamed Ibissi" userId="90b6f8706c8cb808" providerId="LiveId" clId="{D4365AD1-7D00-42D7-8E47-6E306EC2F93A}" dt="2024-11-12T10:59:53.338" v="2070"/>
          <ac:spMkLst>
            <pc:docMk/>
            <pc:sldMk cId="2739923162" sldId="2134806494"/>
            <ac:spMk id="19" creationId="{589EF883-AF27-75D1-266D-79B135BD71C0}"/>
          </ac:spMkLst>
        </pc:spChg>
        <pc:spChg chg="mod">
          <ac:chgData name="Mohamed Ibissi" userId="90b6f8706c8cb808" providerId="LiveId" clId="{D4365AD1-7D00-42D7-8E47-6E306EC2F93A}" dt="2024-11-12T10:59:53.338" v="2070"/>
          <ac:spMkLst>
            <pc:docMk/>
            <pc:sldMk cId="2739923162" sldId="2134806494"/>
            <ac:spMk id="20" creationId="{025DE96F-5021-3AC2-7514-1872C7DBF828}"/>
          </ac:spMkLst>
        </pc:spChg>
        <pc:grpChg chg="add mod">
          <ac:chgData name="Mohamed Ibissi" userId="90b6f8706c8cb808" providerId="LiveId" clId="{D4365AD1-7D00-42D7-8E47-6E306EC2F93A}" dt="2024-11-12T11:01:09.317" v="2094" actId="1036"/>
          <ac:grpSpMkLst>
            <pc:docMk/>
            <pc:sldMk cId="2739923162" sldId="2134806494"/>
            <ac:grpSpMk id="4" creationId="{FE09B82E-6C3D-3F8C-A21B-509B0FF96B22}"/>
          </ac:grpSpMkLst>
        </pc:grpChg>
        <pc:grpChg chg="add mod">
          <ac:chgData name="Mohamed Ibissi" userId="90b6f8706c8cb808" providerId="LiveId" clId="{D4365AD1-7D00-42D7-8E47-6E306EC2F93A}" dt="2024-11-12T11:01:09.317" v="2094" actId="1036"/>
          <ac:grpSpMkLst>
            <pc:docMk/>
            <pc:sldMk cId="2739923162" sldId="2134806494"/>
            <ac:grpSpMk id="10" creationId="{33C9FF8A-7273-BBB6-3D92-6958579B03E8}"/>
          </ac:grpSpMkLst>
        </pc:grpChg>
        <pc:grpChg chg="mod">
          <ac:chgData name="Mohamed Ibissi" userId="90b6f8706c8cb808" providerId="LiveId" clId="{D4365AD1-7D00-42D7-8E47-6E306EC2F93A}" dt="2024-11-12T10:59:53.338" v="2070"/>
          <ac:grpSpMkLst>
            <pc:docMk/>
            <pc:sldMk cId="2739923162" sldId="2134806494"/>
            <ac:grpSpMk id="12" creationId="{41531895-052C-570A-A1A7-8097F994F84B}"/>
          </ac:grpSpMkLst>
        </pc:grpChg>
        <pc:grpChg chg="add mod">
          <ac:chgData name="Mohamed Ibissi" userId="90b6f8706c8cb808" providerId="LiveId" clId="{D4365AD1-7D00-42D7-8E47-6E306EC2F93A}" dt="2024-11-12T11:01:09.317" v="2094" actId="1036"/>
          <ac:grpSpMkLst>
            <pc:docMk/>
            <pc:sldMk cId="2739923162" sldId="2134806494"/>
            <ac:grpSpMk id="16" creationId="{9E831F1E-BD6A-E30E-1E41-6A31BF06280C}"/>
          </ac:grpSpMkLst>
        </pc:grpChg>
        <pc:graphicFrameChg chg="del">
          <ac:chgData name="Mohamed Ibissi" userId="90b6f8706c8cb808" providerId="LiveId" clId="{D4365AD1-7D00-42D7-8E47-6E306EC2F93A}" dt="2024-11-11T10:40:48.137" v="1922" actId="478"/>
          <ac:graphicFrameMkLst>
            <pc:docMk/>
            <pc:sldMk cId="2739923162" sldId="2134806494"/>
            <ac:graphicFrameMk id="9" creationId="{ECA6A1FC-8CDD-44EE-E58A-8C6A511CE020}"/>
          </ac:graphicFrameMkLst>
        </pc:graphicFrameChg>
        <pc:picChg chg="add del mod">
          <ac:chgData name="Mohamed Ibissi" userId="90b6f8706c8cb808" providerId="LiveId" clId="{D4365AD1-7D00-42D7-8E47-6E306EC2F93A}" dt="2024-11-12T10:59:52.634" v="2069" actId="478"/>
          <ac:picMkLst>
            <pc:docMk/>
            <pc:sldMk cId="2739923162" sldId="2134806494"/>
            <ac:picMk id="2" creationId="{7E34697A-9AD9-6F5E-996C-31B4896F8AAE}"/>
          </ac:picMkLst>
        </pc:picChg>
        <pc:picChg chg="add mod ord">
          <ac:chgData name="Mohamed Ibissi" userId="90b6f8706c8cb808" providerId="LiveId" clId="{D4365AD1-7D00-42D7-8E47-6E306EC2F93A}" dt="2024-11-11T10:41:05.973" v="1924" actId="167"/>
          <ac:picMkLst>
            <pc:docMk/>
            <pc:sldMk cId="2739923162" sldId="2134806494"/>
            <ac:picMk id="3" creationId="{7E65B658-7089-B51E-D50A-2876F7A00933}"/>
          </ac:picMkLst>
        </pc:picChg>
        <pc:picChg chg="mod">
          <ac:chgData name="Mohamed Ibissi" userId="90b6f8706c8cb808" providerId="LiveId" clId="{D4365AD1-7D00-42D7-8E47-6E306EC2F93A}" dt="2024-11-12T10:59:53.338" v="2070"/>
          <ac:picMkLst>
            <pc:docMk/>
            <pc:sldMk cId="2739923162" sldId="2134806494"/>
            <ac:picMk id="5" creationId="{8DBBF673-F6FC-9496-061D-277D919783ED}"/>
          </ac:picMkLst>
        </pc:picChg>
        <pc:picChg chg="del">
          <ac:chgData name="Mohamed Ibissi" userId="90b6f8706c8cb808" providerId="LiveId" clId="{D4365AD1-7D00-42D7-8E47-6E306EC2F93A}" dt="2024-11-09T08:22:05.400" v="1375" actId="478"/>
          <ac:picMkLst>
            <pc:docMk/>
            <pc:sldMk cId="2739923162" sldId="2134806494"/>
            <ac:picMk id="10" creationId="{4DA5743E-682B-CC97-BEC4-06994C8C896E}"/>
          </ac:picMkLst>
        </pc:picChg>
        <pc:picChg chg="mod">
          <ac:chgData name="Mohamed Ibissi" userId="90b6f8706c8cb808" providerId="LiveId" clId="{D4365AD1-7D00-42D7-8E47-6E306EC2F93A}" dt="2024-11-12T10:59:53.338" v="2070"/>
          <ac:picMkLst>
            <pc:docMk/>
            <pc:sldMk cId="2739923162" sldId="2134806494"/>
            <ac:picMk id="11" creationId="{C262F079-67DC-40C5-486A-BF1C3F83DD21}"/>
          </ac:picMkLst>
        </pc:picChg>
        <pc:picChg chg="mod">
          <ac:chgData name="Mohamed Ibissi" userId="90b6f8706c8cb808" providerId="LiveId" clId="{D4365AD1-7D00-42D7-8E47-6E306EC2F93A}" dt="2024-11-12T10:59:53.338" v="2070"/>
          <ac:picMkLst>
            <pc:docMk/>
            <pc:sldMk cId="2739923162" sldId="2134806494"/>
            <ac:picMk id="17" creationId="{65099820-C081-FCC5-5273-0E85049CF8DA}"/>
          </ac:picMkLst>
        </pc:picChg>
        <pc:cxnChg chg="add mod">
          <ac:chgData name="Mohamed Ibissi" userId="90b6f8706c8cb808" providerId="LiveId" clId="{D4365AD1-7D00-42D7-8E47-6E306EC2F93A}" dt="2024-11-12T11:01:09.317" v="2094" actId="1036"/>
          <ac:cxnSpMkLst>
            <pc:docMk/>
            <pc:sldMk cId="2739923162" sldId="2134806494"/>
            <ac:cxnSpMk id="21" creationId="{4FEF190A-31AD-2B13-5468-B58789AC5E18}"/>
          </ac:cxnSpMkLst>
        </pc:cxnChg>
      </pc:sldChg>
      <pc:sldChg chg="addSp delSp modSp mod">
        <pc:chgData name="Mohamed Ibissi" userId="90b6f8706c8cb808" providerId="LiveId" clId="{D4365AD1-7D00-42D7-8E47-6E306EC2F93A}" dt="2024-11-11T10:41:27.485" v="1928" actId="167"/>
        <pc:sldMkLst>
          <pc:docMk/>
          <pc:sldMk cId="3765465306" sldId="2134806495"/>
        </pc:sldMkLst>
        <pc:spChg chg="mod">
          <ac:chgData name="Mohamed Ibissi" userId="90b6f8706c8cb808" providerId="LiveId" clId="{D4365AD1-7D00-42D7-8E47-6E306EC2F93A}" dt="2024-11-09T08:23:46.066" v="1398" actId="20577"/>
          <ac:spMkLst>
            <pc:docMk/>
            <pc:sldMk cId="3765465306" sldId="2134806495"/>
            <ac:spMk id="4" creationId="{2847F445-0034-73EA-7EC6-54999794235D}"/>
          </ac:spMkLst>
        </pc:spChg>
        <pc:graphicFrameChg chg="del">
          <ac:chgData name="Mohamed Ibissi" userId="90b6f8706c8cb808" providerId="LiveId" clId="{D4365AD1-7D00-42D7-8E47-6E306EC2F93A}" dt="2024-11-11T10:41:21.326" v="1926" actId="478"/>
          <ac:graphicFrameMkLst>
            <pc:docMk/>
            <pc:sldMk cId="3765465306" sldId="2134806495"/>
            <ac:graphicFrameMk id="9" creationId="{DDDBEF2D-B5D8-EABB-DE5B-A248136118D3}"/>
          </ac:graphicFrameMkLst>
        </pc:graphicFrameChg>
        <pc:picChg chg="mod">
          <ac:chgData name="Mohamed Ibissi" userId="90b6f8706c8cb808" providerId="LiveId" clId="{D4365AD1-7D00-42D7-8E47-6E306EC2F93A}" dt="2024-11-09T08:23:25.069" v="1381" actId="14826"/>
          <ac:picMkLst>
            <pc:docMk/>
            <pc:sldMk cId="3765465306" sldId="2134806495"/>
            <ac:picMk id="2" creationId="{C94827C3-2196-10E3-BA9C-D08BAEE2EB4A}"/>
          </ac:picMkLst>
        </pc:picChg>
        <pc:picChg chg="mod">
          <ac:chgData name="Mohamed Ibissi" userId="90b6f8706c8cb808" providerId="LiveId" clId="{D4365AD1-7D00-42D7-8E47-6E306EC2F93A}" dt="2024-11-09T08:23:57.792" v="1399" actId="14826"/>
          <ac:picMkLst>
            <pc:docMk/>
            <pc:sldMk cId="3765465306" sldId="2134806495"/>
            <ac:picMk id="3" creationId="{66038B6C-AD40-09D6-B303-B619550392AA}"/>
          </ac:picMkLst>
        </pc:picChg>
        <pc:picChg chg="add mod ord">
          <ac:chgData name="Mohamed Ibissi" userId="90b6f8706c8cb808" providerId="LiveId" clId="{D4365AD1-7D00-42D7-8E47-6E306EC2F93A}" dt="2024-11-11T10:41:27.485" v="1928" actId="167"/>
          <ac:picMkLst>
            <pc:docMk/>
            <pc:sldMk cId="3765465306" sldId="2134806495"/>
            <ac:picMk id="5" creationId="{20840724-7FA8-E837-D11C-763B1A031B6B}"/>
          </ac:picMkLst>
        </pc:picChg>
      </pc:sldChg>
      <pc:sldChg chg="addSp delSp modSp mod">
        <pc:chgData name="Mohamed Ibissi" userId="90b6f8706c8cb808" providerId="LiveId" clId="{D4365AD1-7D00-42D7-8E47-6E306EC2F93A}" dt="2024-11-11T10:41:57.632" v="1931" actId="167"/>
        <pc:sldMkLst>
          <pc:docMk/>
          <pc:sldMk cId="2195612703" sldId="2134806496"/>
        </pc:sldMkLst>
        <pc:graphicFrameChg chg="del">
          <ac:chgData name="Mohamed Ibissi" userId="90b6f8706c8cb808" providerId="LiveId" clId="{D4365AD1-7D00-42D7-8E47-6E306EC2F93A}" dt="2024-11-11T10:41:50.791" v="1929" actId="478"/>
          <ac:graphicFrameMkLst>
            <pc:docMk/>
            <pc:sldMk cId="2195612703" sldId="2134806496"/>
            <ac:graphicFrameMk id="9" creationId="{761AF818-5860-0D0E-6F5F-862907C07B65}"/>
          </ac:graphicFrameMkLst>
        </pc:graphicFrameChg>
        <pc:picChg chg="add mod ord">
          <ac:chgData name="Mohamed Ibissi" userId="90b6f8706c8cb808" providerId="LiveId" clId="{D4365AD1-7D00-42D7-8E47-6E306EC2F93A}" dt="2024-11-11T10:41:57.632" v="1931" actId="167"/>
          <ac:picMkLst>
            <pc:docMk/>
            <pc:sldMk cId="2195612703" sldId="2134806496"/>
            <ac:picMk id="2" creationId="{0AAED65C-9AE8-E792-4B7C-587942770B22}"/>
          </ac:picMkLst>
        </pc:picChg>
      </pc:sldChg>
      <pc:sldChg chg="addSp delSp modSp mod">
        <pc:chgData name="Mohamed Ibissi" userId="90b6f8706c8cb808" providerId="LiveId" clId="{D4365AD1-7D00-42D7-8E47-6E306EC2F93A}" dt="2024-11-12T14:44:40.191" v="2150" actId="1076"/>
        <pc:sldMkLst>
          <pc:docMk/>
          <pc:sldMk cId="1369903470" sldId="2134806497"/>
        </pc:sldMkLst>
        <pc:spChg chg="add mod">
          <ac:chgData name="Mohamed Ibissi" userId="90b6f8706c8cb808" providerId="LiveId" clId="{D4365AD1-7D00-42D7-8E47-6E306EC2F93A}" dt="2024-11-09T05:25:20.815" v="202"/>
          <ac:spMkLst>
            <pc:docMk/>
            <pc:sldMk cId="1369903470" sldId="2134806497"/>
            <ac:spMk id="8" creationId="{55618918-9777-A21B-0BCD-03B83178CBFA}"/>
          </ac:spMkLst>
        </pc:spChg>
        <pc:spChg chg="add mod">
          <ac:chgData name="Mohamed Ibissi" userId="90b6f8706c8cb808" providerId="LiveId" clId="{D4365AD1-7D00-42D7-8E47-6E306EC2F93A}" dt="2024-11-09T05:25:20.815" v="202"/>
          <ac:spMkLst>
            <pc:docMk/>
            <pc:sldMk cId="1369903470" sldId="2134806497"/>
            <ac:spMk id="9" creationId="{EBDE4094-2C57-7196-CDB9-105B7E4041B7}"/>
          </ac:spMkLst>
        </pc:spChg>
        <pc:spChg chg="del">
          <ac:chgData name="Mohamed Ibissi" userId="90b6f8706c8cb808" providerId="LiveId" clId="{D4365AD1-7D00-42D7-8E47-6E306EC2F93A}" dt="2024-11-09T05:25:01.647" v="201" actId="478"/>
          <ac:spMkLst>
            <pc:docMk/>
            <pc:sldMk cId="1369903470" sldId="2134806497"/>
            <ac:spMk id="10" creationId="{590A2522-B884-C663-EA23-8541962CD694}"/>
          </ac:spMkLst>
        </pc:spChg>
        <pc:spChg chg="del">
          <ac:chgData name="Mohamed Ibissi" userId="90b6f8706c8cb808" providerId="LiveId" clId="{D4365AD1-7D00-42D7-8E47-6E306EC2F93A}" dt="2024-11-09T05:25:01.647" v="201" actId="478"/>
          <ac:spMkLst>
            <pc:docMk/>
            <pc:sldMk cId="1369903470" sldId="2134806497"/>
            <ac:spMk id="11" creationId="{7C9FE945-FD29-56E5-1091-1E16D8589119}"/>
          </ac:spMkLst>
        </pc:spChg>
        <pc:spChg chg="del">
          <ac:chgData name="Mohamed Ibissi" userId="90b6f8706c8cb808" providerId="LiveId" clId="{D4365AD1-7D00-42D7-8E47-6E306EC2F93A}" dt="2024-11-09T05:25:01.647" v="201" actId="478"/>
          <ac:spMkLst>
            <pc:docMk/>
            <pc:sldMk cId="1369903470" sldId="2134806497"/>
            <ac:spMk id="12" creationId="{DB2F48AD-9822-8488-75CA-7E8568649ADA}"/>
          </ac:spMkLst>
        </pc:spChg>
        <pc:spChg chg="add mod">
          <ac:chgData name="Mohamed Ibissi" userId="90b6f8706c8cb808" providerId="LiveId" clId="{D4365AD1-7D00-42D7-8E47-6E306EC2F93A}" dt="2024-11-09T05:25:20.815" v="202"/>
          <ac:spMkLst>
            <pc:docMk/>
            <pc:sldMk cId="1369903470" sldId="2134806497"/>
            <ac:spMk id="14" creationId="{5874B16D-0CBC-8597-DDD6-B241A0C7904E}"/>
          </ac:spMkLst>
        </pc:spChg>
        <pc:spChg chg="add mod">
          <ac:chgData name="Mohamed Ibissi" userId="90b6f8706c8cb808" providerId="LiveId" clId="{D4365AD1-7D00-42D7-8E47-6E306EC2F93A}" dt="2024-11-09T05:25:20.815" v="202"/>
          <ac:spMkLst>
            <pc:docMk/>
            <pc:sldMk cId="1369903470" sldId="2134806497"/>
            <ac:spMk id="15" creationId="{A033ACBB-0612-EFC5-2C22-073048580173}"/>
          </ac:spMkLst>
        </pc:spChg>
        <pc:spChg chg="add mod">
          <ac:chgData name="Mohamed Ibissi" userId="90b6f8706c8cb808" providerId="LiveId" clId="{D4365AD1-7D00-42D7-8E47-6E306EC2F93A}" dt="2024-11-09T05:25:29.574" v="203"/>
          <ac:spMkLst>
            <pc:docMk/>
            <pc:sldMk cId="1369903470" sldId="2134806497"/>
            <ac:spMk id="20" creationId="{54FC8B9B-AD3B-EA5E-37E1-55D6A49DC0F0}"/>
          </ac:spMkLst>
        </pc:spChg>
        <pc:spChg chg="add mod">
          <ac:chgData name="Mohamed Ibissi" userId="90b6f8706c8cb808" providerId="LiveId" clId="{D4365AD1-7D00-42D7-8E47-6E306EC2F93A}" dt="2024-11-09T05:25:29.574" v="203"/>
          <ac:spMkLst>
            <pc:docMk/>
            <pc:sldMk cId="1369903470" sldId="2134806497"/>
            <ac:spMk id="21" creationId="{24B57E90-9013-7FF1-7D07-8450234A977D}"/>
          </ac:spMkLst>
        </pc:spChg>
        <pc:spChg chg="add mod">
          <ac:chgData name="Mohamed Ibissi" userId="90b6f8706c8cb808" providerId="LiveId" clId="{D4365AD1-7D00-42D7-8E47-6E306EC2F93A}" dt="2024-11-09T05:25:29.574" v="203"/>
          <ac:spMkLst>
            <pc:docMk/>
            <pc:sldMk cId="1369903470" sldId="2134806497"/>
            <ac:spMk id="23" creationId="{EA7E4A52-46A4-664A-6EEB-168E544B8FA1}"/>
          </ac:spMkLst>
        </pc:spChg>
        <pc:spChg chg="add mod">
          <ac:chgData name="Mohamed Ibissi" userId="90b6f8706c8cb808" providerId="LiveId" clId="{D4365AD1-7D00-42D7-8E47-6E306EC2F93A}" dt="2024-11-09T05:25:29.574" v="203"/>
          <ac:spMkLst>
            <pc:docMk/>
            <pc:sldMk cId="1369903470" sldId="2134806497"/>
            <ac:spMk id="24" creationId="{E96F937D-FF51-03F8-A6B1-EE2632446CCA}"/>
          </ac:spMkLst>
        </pc:spChg>
        <pc:graphicFrameChg chg="del">
          <ac:chgData name="Mohamed Ibissi" userId="90b6f8706c8cb808" providerId="LiveId" clId="{D4365AD1-7D00-42D7-8E47-6E306EC2F93A}" dt="2024-11-11T10:27:43.256" v="1721" actId="478"/>
          <ac:graphicFrameMkLst>
            <pc:docMk/>
            <pc:sldMk cId="1369903470" sldId="2134806497"/>
            <ac:graphicFrameMk id="2" creationId="{7C2FDB58-24BF-79C3-C205-1D7E596416DD}"/>
          </ac:graphicFrameMkLst>
        </pc:graphicFrameChg>
        <pc:picChg chg="add mod">
          <ac:chgData name="Mohamed Ibissi" userId="90b6f8706c8cb808" providerId="LiveId" clId="{D4365AD1-7D00-42D7-8E47-6E306EC2F93A}" dt="2024-11-09T05:25:20.815" v="202"/>
          <ac:picMkLst>
            <pc:docMk/>
            <pc:sldMk cId="1369903470" sldId="2134806497"/>
            <ac:picMk id="3" creationId="{53A01777-B08B-DCC1-B6FF-46387FECC8AA}"/>
          </ac:picMkLst>
        </pc:picChg>
        <pc:picChg chg="del">
          <ac:chgData name="Mohamed Ibissi" userId="90b6f8706c8cb808" providerId="LiveId" clId="{D4365AD1-7D00-42D7-8E47-6E306EC2F93A}" dt="2024-11-09T05:24:54.880" v="199" actId="478"/>
          <ac:picMkLst>
            <pc:docMk/>
            <pc:sldMk cId="1369903470" sldId="2134806497"/>
            <ac:picMk id="5" creationId="{B5AB6358-FB55-AB2A-FC39-3445C91363BD}"/>
          </ac:picMkLst>
        </pc:picChg>
        <pc:picChg chg="add mod ord">
          <ac:chgData name="Mohamed Ibissi" userId="90b6f8706c8cb808" providerId="LiveId" clId="{D4365AD1-7D00-42D7-8E47-6E306EC2F93A}" dt="2024-11-11T10:27:46.869" v="1723" actId="167"/>
          <ac:picMkLst>
            <pc:docMk/>
            <pc:sldMk cId="1369903470" sldId="2134806497"/>
            <ac:picMk id="5" creationId="{B6467454-0A8F-C94F-FF7A-193BA1E805D4}"/>
          </ac:picMkLst>
        </pc:picChg>
        <pc:picChg chg="del">
          <ac:chgData name="Mohamed Ibissi" userId="90b6f8706c8cb808" providerId="LiveId" clId="{D4365AD1-7D00-42D7-8E47-6E306EC2F93A}" dt="2024-11-09T05:24:53.004" v="198" actId="478"/>
          <ac:picMkLst>
            <pc:docMk/>
            <pc:sldMk cId="1369903470" sldId="2134806497"/>
            <ac:picMk id="6" creationId="{5D4E6CB5-CABB-D96C-CBF2-0515C0E8C8CB}"/>
          </ac:picMkLst>
        </pc:picChg>
        <pc:picChg chg="add mod">
          <ac:chgData name="Mohamed Ibissi" userId="90b6f8706c8cb808" providerId="LiveId" clId="{D4365AD1-7D00-42D7-8E47-6E306EC2F93A}" dt="2024-11-12T14:42:09.024" v="2147" actId="1076"/>
          <ac:picMkLst>
            <pc:docMk/>
            <pc:sldMk cId="1369903470" sldId="2134806497"/>
            <ac:picMk id="6" creationId="{7C473C9D-45F1-6D7B-58C7-A4BB79D002E1}"/>
          </ac:picMkLst>
        </pc:picChg>
        <pc:picChg chg="del">
          <ac:chgData name="Mohamed Ibissi" userId="90b6f8706c8cb808" providerId="LiveId" clId="{D4365AD1-7D00-42D7-8E47-6E306EC2F93A}" dt="2024-11-09T05:24:56.896" v="200" actId="478"/>
          <ac:picMkLst>
            <pc:docMk/>
            <pc:sldMk cId="1369903470" sldId="2134806497"/>
            <ac:picMk id="7" creationId="{0D91C73F-0C4A-7B3C-B4E7-C536C95A61DA}"/>
          </ac:picMkLst>
        </pc:picChg>
        <pc:picChg chg="add mod">
          <ac:chgData name="Mohamed Ibissi" userId="90b6f8706c8cb808" providerId="LiveId" clId="{D4365AD1-7D00-42D7-8E47-6E306EC2F93A}" dt="2024-11-09T05:25:20.815" v="202"/>
          <ac:picMkLst>
            <pc:docMk/>
            <pc:sldMk cId="1369903470" sldId="2134806497"/>
            <ac:picMk id="13" creationId="{6461A5A5-AE60-3B54-1A8A-3A8DF630013E}"/>
          </ac:picMkLst>
        </pc:picChg>
        <pc:picChg chg="add mod">
          <ac:chgData name="Mohamed Ibissi" userId="90b6f8706c8cb808" providerId="LiveId" clId="{D4365AD1-7D00-42D7-8E47-6E306EC2F93A}" dt="2024-11-12T14:44:40.191" v="2150" actId="1076"/>
          <ac:picMkLst>
            <pc:docMk/>
            <pc:sldMk cId="1369903470" sldId="2134806497"/>
            <ac:picMk id="16" creationId="{2EB2A14A-31E1-A88E-5237-66FA0BB405C0}"/>
          </ac:picMkLst>
        </pc:picChg>
        <pc:picChg chg="add del mod">
          <ac:chgData name="Mohamed Ibissi" userId="90b6f8706c8cb808" providerId="LiveId" clId="{D4365AD1-7D00-42D7-8E47-6E306EC2F93A}" dt="2024-11-12T14:42:05.273" v="2145" actId="478"/>
          <ac:picMkLst>
            <pc:docMk/>
            <pc:sldMk cId="1369903470" sldId="2134806497"/>
            <ac:picMk id="17" creationId="{05E21198-79E7-86E6-C58A-45E8890366A9}"/>
          </ac:picMkLst>
        </pc:picChg>
        <pc:picChg chg="add mod">
          <ac:chgData name="Mohamed Ibissi" userId="90b6f8706c8cb808" providerId="LiveId" clId="{D4365AD1-7D00-42D7-8E47-6E306EC2F93A}" dt="2024-11-09T05:25:29.574" v="203"/>
          <ac:picMkLst>
            <pc:docMk/>
            <pc:sldMk cId="1369903470" sldId="2134806497"/>
            <ac:picMk id="18" creationId="{8BF5EFE5-67FA-6A12-3A00-3F54F1F8EF6E}"/>
          </ac:picMkLst>
        </pc:picChg>
        <pc:picChg chg="add mod">
          <ac:chgData name="Mohamed Ibissi" userId="90b6f8706c8cb808" providerId="LiveId" clId="{D4365AD1-7D00-42D7-8E47-6E306EC2F93A}" dt="2024-11-09T05:25:29.574" v="203"/>
          <ac:picMkLst>
            <pc:docMk/>
            <pc:sldMk cId="1369903470" sldId="2134806497"/>
            <ac:picMk id="19" creationId="{549FFD2F-691A-0AD3-751C-748AF38960AA}"/>
          </ac:picMkLst>
        </pc:picChg>
        <pc:picChg chg="add mod">
          <ac:chgData name="Mohamed Ibissi" userId="90b6f8706c8cb808" providerId="LiveId" clId="{D4365AD1-7D00-42D7-8E47-6E306EC2F93A}" dt="2024-11-09T05:25:29.574" v="203"/>
          <ac:picMkLst>
            <pc:docMk/>
            <pc:sldMk cId="1369903470" sldId="2134806497"/>
            <ac:picMk id="22" creationId="{93B34488-6702-CCC5-364C-6E4BED00B3EF}"/>
          </ac:picMkLst>
        </pc:picChg>
        <pc:picChg chg="add mod">
          <ac:chgData name="Mohamed Ibissi" userId="90b6f8706c8cb808" providerId="LiveId" clId="{D4365AD1-7D00-42D7-8E47-6E306EC2F93A}" dt="2024-11-09T05:25:29.574" v="203"/>
          <ac:picMkLst>
            <pc:docMk/>
            <pc:sldMk cId="1369903470" sldId="2134806497"/>
            <ac:picMk id="25" creationId="{0D36918D-E1D0-0EE2-D456-310BEA3FAE37}"/>
          </ac:picMkLst>
        </pc:picChg>
        <pc:picChg chg="add mod">
          <ac:chgData name="Mohamed Ibissi" userId="90b6f8706c8cb808" providerId="LiveId" clId="{D4365AD1-7D00-42D7-8E47-6E306EC2F93A}" dt="2024-11-09T05:25:29.574" v="203"/>
          <ac:picMkLst>
            <pc:docMk/>
            <pc:sldMk cId="1369903470" sldId="2134806497"/>
            <ac:picMk id="26" creationId="{AE740A61-5D11-7C1D-E18D-9AE841488789}"/>
          </ac:picMkLst>
        </pc:picChg>
        <pc:picChg chg="add mod">
          <ac:chgData name="Mohamed Ibissi" userId="90b6f8706c8cb808" providerId="LiveId" clId="{D4365AD1-7D00-42D7-8E47-6E306EC2F93A}" dt="2024-11-09T05:25:41.549" v="204"/>
          <ac:picMkLst>
            <pc:docMk/>
            <pc:sldMk cId="1369903470" sldId="2134806497"/>
            <ac:picMk id="27" creationId="{CC0B3418-6F43-A1EE-0FB7-F0D1D1E658F9}"/>
          </ac:picMkLst>
        </pc:picChg>
        <pc:picChg chg="add mod">
          <ac:chgData name="Mohamed Ibissi" userId="90b6f8706c8cb808" providerId="LiveId" clId="{D4365AD1-7D00-42D7-8E47-6E306EC2F93A}" dt="2024-11-09T05:27:04.130" v="208" actId="1076"/>
          <ac:picMkLst>
            <pc:docMk/>
            <pc:sldMk cId="1369903470" sldId="2134806497"/>
            <ac:picMk id="29" creationId="{F7E76810-316B-6443-7DEA-57357E238493}"/>
          </ac:picMkLst>
        </pc:picChg>
      </pc:sldChg>
      <pc:sldChg chg="del">
        <pc:chgData name="Mohamed Ibissi" userId="90b6f8706c8cb808" providerId="LiveId" clId="{D4365AD1-7D00-42D7-8E47-6E306EC2F93A}" dt="2024-11-09T05:53:25.044" v="334" actId="47"/>
        <pc:sldMkLst>
          <pc:docMk/>
          <pc:sldMk cId="4012838664" sldId="2134806498"/>
        </pc:sldMkLst>
      </pc:sldChg>
      <pc:sldChg chg="del">
        <pc:chgData name="Mohamed Ibissi" userId="90b6f8706c8cb808" providerId="LiveId" clId="{D4365AD1-7D00-42D7-8E47-6E306EC2F93A}" dt="2024-11-09T05:53:27.577" v="335" actId="47"/>
        <pc:sldMkLst>
          <pc:docMk/>
          <pc:sldMk cId="416197675" sldId="2134806499"/>
        </pc:sldMkLst>
      </pc:sldChg>
      <pc:sldChg chg="del">
        <pc:chgData name="Mohamed Ibissi" userId="90b6f8706c8cb808" providerId="LiveId" clId="{D4365AD1-7D00-42D7-8E47-6E306EC2F93A}" dt="2024-11-11T10:19:37.352" v="1620" actId="47"/>
        <pc:sldMkLst>
          <pc:docMk/>
          <pc:sldMk cId="2335338963" sldId="2134806500"/>
        </pc:sldMkLst>
      </pc:sldChg>
      <pc:sldChg chg="addSp delSp modSp mod">
        <pc:chgData name="Mohamed Ibissi" userId="90b6f8706c8cb808" providerId="LiveId" clId="{D4365AD1-7D00-42D7-8E47-6E306EC2F93A}" dt="2024-11-11T10:31:04.269" v="1777" actId="167"/>
        <pc:sldMkLst>
          <pc:docMk/>
          <pc:sldMk cId="1032254226" sldId="2134806501"/>
        </pc:sldMkLst>
        <pc:spChg chg="mod">
          <ac:chgData name="Mohamed Ibissi" userId="90b6f8706c8cb808" providerId="LiveId" clId="{D4365AD1-7D00-42D7-8E47-6E306EC2F93A}" dt="2024-11-09T06:11:42.495" v="576" actId="20577"/>
          <ac:spMkLst>
            <pc:docMk/>
            <pc:sldMk cId="1032254226" sldId="2134806501"/>
            <ac:spMk id="3" creationId="{BFCF3DDC-A255-19B1-200E-3EFA255311D4}"/>
          </ac:spMkLst>
        </pc:spChg>
        <pc:spChg chg="add mod">
          <ac:chgData name="Mohamed Ibissi" userId="90b6f8706c8cb808" providerId="LiveId" clId="{D4365AD1-7D00-42D7-8E47-6E306EC2F93A}" dt="2024-11-09T06:11:59.522" v="577"/>
          <ac:spMkLst>
            <pc:docMk/>
            <pc:sldMk cId="1032254226" sldId="2134806501"/>
            <ac:spMk id="11" creationId="{A0E4A145-6CD6-3CF1-EE3F-D9A61EAB9B81}"/>
          </ac:spMkLst>
        </pc:spChg>
        <pc:graphicFrameChg chg="del">
          <ac:chgData name="Mohamed Ibissi" userId="90b6f8706c8cb808" providerId="LiveId" clId="{D4365AD1-7D00-42D7-8E47-6E306EC2F93A}" dt="2024-11-11T10:31:01.251" v="1775" actId="478"/>
          <ac:graphicFrameMkLst>
            <pc:docMk/>
            <pc:sldMk cId="1032254226" sldId="2134806501"/>
            <ac:graphicFrameMk id="4" creationId="{BF82101C-878C-22DD-F1DC-6544E3FC7352}"/>
          </ac:graphicFrameMkLst>
        </pc:graphicFrameChg>
        <pc:picChg chg="add mod">
          <ac:chgData name="Mohamed Ibissi" userId="90b6f8706c8cb808" providerId="LiveId" clId="{D4365AD1-7D00-42D7-8E47-6E306EC2F93A}" dt="2024-11-09T06:11:59.522" v="577"/>
          <ac:picMkLst>
            <pc:docMk/>
            <pc:sldMk cId="1032254226" sldId="2134806501"/>
            <ac:picMk id="2" creationId="{45C38522-7E4C-1B77-A315-33C44F4C7570}"/>
          </ac:picMkLst>
        </pc:picChg>
        <pc:picChg chg="del">
          <ac:chgData name="Mohamed Ibissi" userId="90b6f8706c8cb808" providerId="LiveId" clId="{D4365AD1-7D00-42D7-8E47-6E306EC2F93A}" dt="2024-11-09T06:10:48.974" v="548" actId="478"/>
          <ac:picMkLst>
            <pc:docMk/>
            <pc:sldMk cId="1032254226" sldId="2134806501"/>
            <ac:picMk id="6" creationId="{A385C0D4-D769-8F6F-66C9-0F4F1127D8AD}"/>
          </ac:picMkLst>
        </pc:picChg>
        <pc:picChg chg="add mod ord">
          <ac:chgData name="Mohamed Ibissi" userId="90b6f8706c8cb808" providerId="LiveId" clId="{D4365AD1-7D00-42D7-8E47-6E306EC2F93A}" dt="2024-11-11T10:31:04.269" v="1777" actId="167"/>
          <ac:picMkLst>
            <pc:docMk/>
            <pc:sldMk cId="1032254226" sldId="2134806501"/>
            <ac:picMk id="6" creationId="{F1016A44-7247-8153-ACFC-AA6BBB5D717D}"/>
          </ac:picMkLst>
        </pc:picChg>
        <pc:picChg chg="del">
          <ac:chgData name="Mohamed Ibissi" userId="90b6f8706c8cb808" providerId="LiveId" clId="{D4365AD1-7D00-42D7-8E47-6E306EC2F93A}" dt="2024-11-09T06:10:51.305" v="549" actId="478"/>
          <ac:picMkLst>
            <pc:docMk/>
            <pc:sldMk cId="1032254226" sldId="2134806501"/>
            <ac:picMk id="7" creationId="{6463619F-6AA0-F791-711A-543B9D9A3B16}"/>
          </ac:picMkLst>
        </pc:picChg>
        <pc:picChg chg="add mod">
          <ac:chgData name="Mohamed Ibissi" userId="90b6f8706c8cb808" providerId="LiveId" clId="{D4365AD1-7D00-42D7-8E47-6E306EC2F93A}" dt="2024-11-09T06:11:59.522" v="577"/>
          <ac:picMkLst>
            <pc:docMk/>
            <pc:sldMk cId="1032254226" sldId="2134806501"/>
            <ac:picMk id="8" creationId="{3507B772-B48D-EC60-C9F3-EAAB9C370D60}"/>
          </ac:picMkLst>
        </pc:picChg>
        <pc:picChg chg="add mod">
          <ac:chgData name="Mohamed Ibissi" userId="90b6f8706c8cb808" providerId="LiveId" clId="{D4365AD1-7D00-42D7-8E47-6E306EC2F93A}" dt="2024-11-09T06:11:59.522" v="577"/>
          <ac:picMkLst>
            <pc:docMk/>
            <pc:sldMk cId="1032254226" sldId="2134806501"/>
            <ac:picMk id="9" creationId="{80B81CF9-2FC2-962E-FAC5-9A14ED2CEBA3}"/>
          </ac:picMkLst>
        </pc:picChg>
        <pc:picChg chg="add mod">
          <ac:chgData name="Mohamed Ibissi" userId="90b6f8706c8cb808" providerId="LiveId" clId="{D4365AD1-7D00-42D7-8E47-6E306EC2F93A}" dt="2024-11-09T06:11:59.522" v="577"/>
          <ac:picMkLst>
            <pc:docMk/>
            <pc:sldMk cId="1032254226" sldId="2134806501"/>
            <ac:picMk id="10" creationId="{8DF1B3B7-5291-6721-0B23-FB7B462FA1C2}"/>
          </ac:picMkLst>
        </pc:picChg>
      </pc:sldChg>
      <pc:sldChg chg="del">
        <pc:chgData name="Mohamed Ibissi" userId="90b6f8706c8cb808" providerId="LiveId" clId="{D4365AD1-7D00-42D7-8E47-6E306EC2F93A}" dt="2024-11-09T06:10:23.408" v="519" actId="47"/>
        <pc:sldMkLst>
          <pc:docMk/>
          <pc:sldMk cId="1296847262" sldId="2134806502"/>
        </pc:sldMkLst>
      </pc:sldChg>
      <pc:sldChg chg="del">
        <pc:chgData name="Mohamed Ibissi" userId="90b6f8706c8cb808" providerId="LiveId" clId="{D4365AD1-7D00-42D7-8E47-6E306EC2F93A}" dt="2024-11-09T06:10:25.112" v="520" actId="47"/>
        <pc:sldMkLst>
          <pc:docMk/>
          <pc:sldMk cId="3211239673" sldId="2134806503"/>
        </pc:sldMkLst>
      </pc:sldChg>
      <pc:sldChg chg="del">
        <pc:chgData name="Mohamed Ibissi" userId="90b6f8706c8cb808" providerId="LiveId" clId="{D4365AD1-7D00-42D7-8E47-6E306EC2F93A}" dt="2024-11-09T06:10:25.768" v="521" actId="47"/>
        <pc:sldMkLst>
          <pc:docMk/>
          <pc:sldMk cId="1006080167" sldId="2134806504"/>
        </pc:sldMkLst>
      </pc:sldChg>
      <pc:sldChg chg="del">
        <pc:chgData name="Mohamed Ibissi" userId="90b6f8706c8cb808" providerId="LiveId" clId="{D4365AD1-7D00-42D7-8E47-6E306EC2F93A}" dt="2024-11-09T06:10:26.284" v="522" actId="47"/>
        <pc:sldMkLst>
          <pc:docMk/>
          <pc:sldMk cId="3685897860" sldId="2134806505"/>
        </pc:sldMkLst>
      </pc:sldChg>
      <pc:sldChg chg="del">
        <pc:chgData name="Mohamed Ibissi" userId="90b6f8706c8cb808" providerId="LiveId" clId="{D4365AD1-7D00-42D7-8E47-6E306EC2F93A}" dt="2024-11-09T06:10:26.784" v="523" actId="47"/>
        <pc:sldMkLst>
          <pc:docMk/>
          <pc:sldMk cId="504442421" sldId="2134806506"/>
        </pc:sldMkLst>
      </pc:sldChg>
      <pc:sldChg chg="del">
        <pc:chgData name="Mohamed Ibissi" userId="90b6f8706c8cb808" providerId="LiveId" clId="{D4365AD1-7D00-42D7-8E47-6E306EC2F93A}" dt="2024-11-09T06:10:27.284" v="524" actId="47"/>
        <pc:sldMkLst>
          <pc:docMk/>
          <pc:sldMk cId="696045891" sldId="2134806507"/>
        </pc:sldMkLst>
      </pc:sldChg>
      <pc:sldChg chg="del">
        <pc:chgData name="Mohamed Ibissi" userId="90b6f8706c8cb808" providerId="LiveId" clId="{D4365AD1-7D00-42D7-8E47-6E306EC2F93A}" dt="2024-11-09T06:10:27.722" v="525" actId="47"/>
        <pc:sldMkLst>
          <pc:docMk/>
          <pc:sldMk cId="191760611" sldId="2134806508"/>
        </pc:sldMkLst>
      </pc:sldChg>
      <pc:sldChg chg="del">
        <pc:chgData name="Mohamed Ibissi" userId="90b6f8706c8cb808" providerId="LiveId" clId="{D4365AD1-7D00-42D7-8E47-6E306EC2F93A}" dt="2024-11-09T06:10:28.175" v="526" actId="47"/>
        <pc:sldMkLst>
          <pc:docMk/>
          <pc:sldMk cId="3901636943" sldId="2134806509"/>
        </pc:sldMkLst>
      </pc:sldChg>
      <pc:sldChg chg="del">
        <pc:chgData name="Mohamed Ibissi" userId="90b6f8706c8cb808" providerId="LiveId" clId="{D4365AD1-7D00-42D7-8E47-6E306EC2F93A}" dt="2024-11-09T06:10:28.676" v="527" actId="47"/>
        <pc:sldMkLst>
          <pc:docMk/>
          <pc:sldMk cId="2903615419" sldId="2134806510"/>
        </pc:sldMkLst>
      </pc:sldChg>
      <pc:sldChg chg="del">
        <pc:chgData name="Mohamed Ibissi" userId="90b6f8706c8cb808" providerId="LiveId" clId="{D4365AD1-7D00-42D7-8E47-6E306EC2F93A}" dt="2024-11-09T06:10:29.129" v="528" actId="47"/>
        <pc:sldMkLst>
          <pc:docMk/>
          <pc:sldMk cId="791784761" sldId="2134806511"/>
        </pc:sldMkLst>
      </pc:sldChg>
      <pc:sldChg chg="del">
        <pc:chgData name="Mohamed Ibissi" userId="90b6f8706c8cb808" providerId="LiveId" clId="{D4365AD1-7D00-42D7-8E47-6E306EC2F93A}" dt="2024-11-09T06:10:29.645" v="529" actId="47"/>
        <pc:sldMkLst>
          <pc:docMk/>
          <pc:sldMk cId="157638307" sldId="2134806512"/>
        </pc:sldMkLst>
      </pc:sldChg>
      <pc:sldChg chg="del">
        <pc:chgData name="Mohamed Ibissi" userId="90b6f8706c8cb808" providerId="LiveId" clId="{D4365AD1-7D00-42D7-8E47-6E306EC2F93A}" dt="2024-11-09T06:10:30.114" v="530" actId="47"/>
        <pc:sldMkLst>
          <pc:docMk/>
          <pc:sldMk cId="1699720943" sldId="2134806513"/>
        </pc:sldMkLst>
      </pc:sldChg>
      <pc:sldChg chg="del">
        <pc:chgData name="Mohamed Ibissi" userId="90b6f8706c8cb808" providerId="LiveId" clId="{D4365AD1-7D00-42D7-8E47-6E306EC2F93A}" dt="2024-11-09T06:10:30.614" v="531" actId="47"/>
        <pc:sldMkLst>
          <pc:docMk/>
          <pc:sldMk cId="679391997" sldId="2134806514"/>
        </pc:sldMkLst>
      </pc:sldChg>
      <pc:sldChg chg="del">
        <pc:chgData name="Mohamed Ibissi" userId="90b6f8706c8cb808" providerId="LiveId" clId="{D4365AD1-7D00-42D7-8E47-6E306EC2F93A}" dt="2024-11-09T06:10:31.114" v="532" actId="47"/>
        <pc:sldMkLst>
          <pc:docMk/>
          <pc:sldMk cId="286491521" sldId="2134806515"/>
        </pc:sldMkLst>
      </pc:sldChg>
      <pc:sldChg chg="del">
        <pc:chgData name="Mohamed Ibissi" userId="90b6f8706c8cb808" providerId="LiveId" clId="{D4365AD1-7D00-42D7-8E47-6E306EC2F93A}" dt="2024-11-09T06:10:31.551" v="533" actId="47"/>
        <pc:sldMkLst>
          <pc:docMk/>
          <pc:sldMk cId="3385218751" sldId="2134806516"/>
        </pc:sldMkLst>
      </pc:sldChg>
      <pc:sldChg chg="del">
        <pc:chgData name="Mohamed Ibissi" userId="90b6f8706c8cb808" providerId="LiveId" clId="{D4365AD1-7D00-42D7-8E47-6E306EC2F93A}" dt="2024-11-09T06:10:32.021" v="534" actId="47"/>
        <pc:sldMkLst>
          <pc:docMk/>
          <pc:sldMk cId="4014098746" sldId="2134806517"/>
        </pc:sldMkLst>
      </pc:sldChg>
      <pc:sldChg chg="del">
        <pc:chgData name="Mohamed Ibissi" userId="90b6f8706c8cb808" providerId="LiveId" clId="{D4365AD1-7D00-42D7-8E47-6E306EC2F93A}" dt="2024-11-09T06:10:32.411" v="535" actId="47"/>
        <pc:sldMkLst>
          <pc:docMk/>
          <pc:sldMk cId="1921828407" sldId="2134806518"/>
        </pc:sldMkLst>
      </pc:sldChg>
      <pc:sldChg chg="del">
        <pc:chgData name="Mohamed Ibissi" userId="90b6f8706c8cb808" providerId="LiveId" clId="{D4365AD1-7D00-42D7-8E47-6E306EC2F93A}" dt="2024-11-09T06:10:32.849" v="536" actId="47"/>
        <pc:sldMkLst>
          <pc:docMk/>
          <pc:sldMk cId="622042315" sldId="2134806519"/>
        </pc:sldMkLst>
      </pc:sldChg>
      <pc:sldChg chg="del">
        <pc:chgData name="Mohamed Ibissi" userId="90b6f8706c8cb808" providerId="LiveId" clId="{D4365AD1-7D00-42D7-8E47-6E306EC2F93A}" dt="2024-11-09T06:10:33.318" v="537" actId="47"/>
        <pc:sldMkLst>
          <pc:docMk/>
          <pc:sldMk cId="1935594072" sldId="2134806520"/>
        </pc:sldMkLst>
      </pc:sldChg>
      <pc:sldChg chg="del">
        <pc:chgData name="Mohamed Ibissi" userId="90b6f8706c8cb808" providerId="LiveId" clId="{D4365AD1-7D00-42D7-8E47-6E306EC2F93A}" dt="2024-11-09T06:10:33.771" v="538" actId="47"/>
        <pc:sldMkLst>
          <pc:docMk/>
          <pc:sldMk cId="2426261527" sldId="2134806521"/>
        </pc:sldMkLst>
      </pc:sldChg>
      <pc:sldChg chg="del">
        <pc:chgData name="Mohamed Ibissi" userId="90b6f8706c8cb808" providerId="LiveId" clId="{D4365AD1-7D00-42D7-8E47-6E306EC2F93A}" dt="2024-11-09T06:10:34.209" v="539" actId="47"/>
        <pc:sldMkLst>
          <pc:docMk/>
          <pc:sldMk cId="1558903497" sldId="2134806522"/>
        </pc:sldMkLst>
      </pc:sldChg>
      <pc:sldChg chg="del">
        <pc:chgData name="Mohamed Ibissi" userId="90b6f8706c8cb808" providerId="LiveId" clId="{D4365AD1-7D00-42D7-8E47-6E306EC2F93A}" dt="2024-11-09T06:10:34.944" v="540" actId="47"/>
        <pc:sldMkLst>
          <pc:docMk/>
          <pc:sldMk cId="3315164222" sldId="2134806523"/>
        </pc:sldMkLst>
      </pc:sldChg>
      <pc:sldChg chg="del">
        <pc:chgData name="Mohamed Ibissi" userId="90b6f8706c8cb808" providerId="LiveId" clId="{D4365AD1-7D00-42D7-8E47-6E306EC2F93A}" dt="2024-11-09T06:10:35.491" v="541" actId="47"/>
        <pc:sldMkLst>
          <pc:docMk/>
          <pc:sldMk cId="2161425080" sldId="2134806524"/>
        </pc:sldMkLst>
      </pc:sldChg>
      <pc:sldChg chg="del">
        <pc:chgData name="Mohamed Ibissi" userId="90b6f8706c8cb808" providerId="LiveId" clId="{D4365AD1-7D00-42D7-8E47-6E306EC2F93A}" dt="2024-11-09T06:10:36.086" v="542" actId="47"/>
        <pc:sldMkLst>
          <pc:docMk/>
          <pc:sldMk cId="2380315663" sldId="2134806525"/>
        </pc:sldMkLst>
      </pc:sldChg>
      <pc:sldChg chg="del">
        <pc:chgData name="Mohamed Ibissi" userId="90b6f8706c8cb808" providerId="LiveId" clId="{D4365AD1-7D00-42D7-8E47-6E306EC2F93A}" dt="2024-11-09T06:10:36.650" v="543" actId="47"/>
        <pc:sldMkLst>
          <pc:docMk/>
          <pc:sldMk cId="4190823172" sldId="2134806526"/>
        </pc:sldMkLst>
      </pc:sldChg>
      <pc:sldChg chg="del">
        <pc:chgData name="Mohamed Ibissi" userId="90b6f8706c8cb808" providerId="LiveId" clId="{D4365AD1-7D00-42D7-8E47-6E306EC2F93A}" dt="2024-11-09T06:10:37.588" v="544" actId="47"/>
        <pc:sldMkLst>
          <pc:docMk/>
          <pc:sldMk cId="731568781" sldId="2134806527"/>
        </pc:sldMkLst>
      </pc:sldChg>
      <pc:sldChg chg="del">
        <pc:chgData name="Mohamed Ibissi" userId="90b6f8706c8cb808" providerId="LiveId" clId="{D4365AD1-7D00-42D7-8E47-6E306EC2F93A}" dt="2024-11-09T06:10:38.792" v="545" actId="47"/>
        <pc:sldMkLst>
          <pc:docMk/>
          <pc:sldMk cId="2204588059" sldId="2134806528"/>
        </pc:sldMkLst>
      </pc:sldChg>
      <pc:sldChg chg="del">
        <pc:chgData name="Mohamed Ibissi" userId="90b6f8706c8cb808" providerId="LiveId" clId="{D4365AD1-7D00-42D7-8E47-6E306EC2F93A}" dt="2024-11-09T06:10:40.371" v="546" actId="47"/>
        <pc:sldMkLst>
          <pc:docMk/>
          <pc:sldMk cId="1332361485" sldId="2134806529"/>
        </pc:sldMkLst>
      </pc:sldChg>
      <pc:sldChg chg="del">
        <pc:chgData name="Mohamed Ibissi" userId="90b6f8706c8cb808" providerId="LiveId" clId="{D4365AD1-7D00-42D7-8E47-6E306EC2F93A}" dt="2024-11-09T06:10:42.075" v="547" actId="47"/>
        <pc:sldMkLst>
          <pc:docMk/>
          <pc:sldMk cId="2787484567" sldId="2134806530"/>
        </pc:sldMkLst>
      </pc:sldChg>
      <pc:sldChg chg="del">
        <pc:chgData name="Mohamed Ibissi" userId="90b6f8706c8cb808" providerId="LiveId" clId="{D4365AD1-7D00-42D7-8E47-6E306EC2F93A}" dt="2024-11-09T06:23:24.394" v="713" actId="47"/>
        <pc:sldMkLst>
          <pc:docMk/>
          <pc:sldMk cId="963368900" sldId="2134806531"/>
        </pc:sldMkLst>
      </pc:sldChg>
      <pc:sldChg chg="del">
        <pc:chgData name="Mohamed Ibissi" userId="90b6f8706c8cb808" providerId="LiveId" clId="{D4365AD1-7D00-42D7-8E47-6E306EC2F93A}" dt="2024-11-11T10:19:59.866" v="1623" actId="47"/>
        <pc:sldMkLst>
          <pc:docMk/>
          <pc:sldMk cId="1729558155" sldId="2134806532"/>
        </pc:sldMkLst>
      </pc:sldChg>
      <pc:sldChg chg="addSp delSp modSp mod">
        <pc:chgData name="Mohamed Ibissi" userId="90b6f8706c8cb808" providerId="LiveId" clId="{D4365AD1-7D00-42D7-8E47-6E306EC2F93A}" dt="2024-11-12T10:56:16.626" v="2055" actId="14100"/>
        <pc:sldMkLst>
          <pc:docMk/>
          <pc:sldMk cId="3343618189" sldId="2134806533"/>
        </pc:sldMkLst>
        <pc:spChg chg="mod">
          <ac:chgData name="Mohamed Ibissi" userId="90b6f8706c8cb808" providerId="LiveId" clId="{D4365AD1-7D00-42D7-8E47-6E306EC2F93A}" dt="2024-11-09T06:46:46.502" v="837" actId="6549"/>
          <ac:spMkLst>
            <pc:docMk/>
            <pc:sldMk cId="3343618189" sldId="2134806533"/>
            <ac:spMk id="3" creationId="{EF66B6B0-CCAB-0514-A03D-26E48FE2740E}"/>
          </ac:spMkLst>
        </pc:spChg>
        <pc:spChg chg="add mod">
          <ac:chgData name="Mohamed Ibissi" userId="90b6f8706c8cb808" providerId="LiveId" clId="{D4365AD1-7D00-42D7-8E47-6E306EC2F93A}" dt="2024-11-09T06:44:36.964" v="829"/>
          <ac:spMkLst>
            <pc:docMk/>
            <pc:sldMk cId="3343618189" sldId="2134806533"/>
            <ac:spMk id="7" creationId="{5063B56D-B148-75EE-78E4-DC84FA9715BF}"/>
          </ac:spMkLst>
        </pc:spChg>
        <pc:spChg chg="del">
          <ac:chgData name="Mohamed Ibissi" userId="90b6f8706c8cb808" providerId="LiveId" clId="{D4365AD1-7D00-42D7-8E47-6E306EC2F93A}" dt="2024-11-09T06:44:22.062" v="827" actId="478"/>
          <ac:spMkLst>
            <pc:docMk/>
            <pc:sldMk cId="3343618189" sldId="2134806533"/>
            <ac:spMk id="8" creationId="{9C171926-8519-5BAE-55F6-02951C0170BB}"/>
          </ac:spMkLst>
        </pc:spChg>
        <pc:spChg chg="del">
          <ac:chgData name="Mohamed Ibissi" userId="90b6f8706c8cb808" providerId="LiveId" clId="{D4365AD1-7D00-42D7-8E47-6E306EC2F93A}" dt="2024-11-09T06:44:24.611" v="828" actId="478"/>
          <ac:spMkLst>
            <pc:docMk/>
            <pc:sldMk cId="3343618189" sldId="2134806533"/>
            <ac:spMk id="9" creationId="{C05F2121-B21D-9303-7218-2077281AB611}"/>
          </ac:spMkLst>
        </pc:spChg>
        <pc:spChg chg="add mod">
          <ac:chgData name="Mohamed Ibissi" userId="90b6f8706c8cb808" providerId="LiveId" clId="{D4365AD1-7D00-42D7-8E47-6E306EC2F93A}" dt="2024-11-09T06:44:36.964" v="829"/>
          <ac:spMkLst>
            <pc:docMk/>
            <pc:sldMk cId="3343618189" sldId="2134806533"/>
            <ac:spMk id="10" creationId="{8E6E2A29-55C4-93ED-ED2C-2D1E65E2B036}"/>
          </ac:spMkLst>
        </pc:spChg>
        <pc:graphicFrameChg chg="del">
          <ac:chgData name="Mohamed Ibissi" userId="90b6f8706c8cb808" providerId="LiveId" clId="{D4365AD1-7D00-42D7-8E47-6E306EC2F93A}" dt="2024-11-11T10:34:04.157" v="1832" actId="478"/>
          <ac:graphicFrameMkLst>
            <pc:docMk/>
            <pc:sldMk cId="3343618189" sldId="2134806533"/>
            <ac:graphicFrameMk id="4" creationId="{3BA633F2-D363-BC83-6BDC-FA538BC9AD59}"/>
          </ac:graphicFrameMkLst>
        </pc:graphicFrameChg>
        <pc:picChg chg="add mod">
          <ac:chgData name="Mohamed Ibissi" userId="90b6f8706c8cb808" providerId="LiveId" clId="{D4365AD1-7D00-42D7-8E47-6E306EC2F93A}" dt="2024-11-12T10:56:16.626" v="2055" actId="14100"/>
          <ac:picMkLst>
            <pc:docMk/>
            <pc:sldMk cId="3343618189" sldId="2134806533"/>
            <ac:picMk id="2" creationId="{4CA116C9-2E29-2537-FEC4-80BA5D1102B0}"/>
          </ac:picMkLst>
        </pc:picChg>
        <pc:picChg chg="del">
          <ac:chgData name="Mohamed Ibissi" userId="90b6f8706c8cb808" providerId="LiveId" clId="{D4365AD1-7D00-42D7-8E47-6E306EC2F93A}" dt="2024-11-09T06:44:19.576" v="826" actId="478"/>
          <ac:picMkLst>
            <pc:docMk/>
            <pc:sldMk cId="3343618189" sldId="2134806533"/>
            <ac:picMk id="6" creationId="{B4B7DE10-87E6-58A2-7DAB-8DC5A5B63766}"/>
          </ac:picMkLst>
        </pc:picChg>
        <pc:picChg chg="add mod ord">
          <ac:chgData name="Mohamed Ibissi" userId="90b6f8706c8cb808" providerId="LiveId" clId="{D4365AD1-7D00-42D7-8E47-6E306EC2F93A}" dt="2024-11-11T10:34:07.354" v="1834" actId="167"/>
          <ac:picMkLst>
            <pc:docMk/>
            <pc:sldMk cId="3343618189" sldId="2134806533"/>
            <ac:picMk id="6" creationId="{DD346419-1063-CE9B-6791-EC23AC563CB3}"/>
          </ac:picMkLst>
        </pc:picChg>
      </pc:sldChg>
      <pc:sldChg chg="del">
        <pc:chgData name="Mohamed Ibissi" userId="90b6f8706c8cb808" providerId="LiveId" clId="{D4365AD1-7D00-42D7-8E47-6E306EC2F93A}" dt="2024-11-09T06:57:39.520" v="838" actId="47"/>
        <pc:sldMkLst>
          <pc:docMk/>
          <pc:sldMk cId="2592496099" sldId="2134806534"/>
        </pc:sldMkLst>
      </pc:sldChg>
      <pc:sldChg chg="del">
        <pc:chgData name="Mohamed Ibissi" userId="90b6f8706c8cb808" providerId="LiveId" clId="{D4365AD1-7D00-42D7-8E47-6E306EC2F93A}" dt="2024-11-09T06:57:40.989" v="839" actId="47"/>
        <pc:sldMkLst>
          <pc:docMk/>
          <pc:sldMk cId="1489613856" sldId="2134806535"/>
        </pc:sldMkLst>
      </pc:sldChg>
      <pc:sldChg chg="del">
        <pc:chgData name="Mohamed Ibissi" userId="90b6f8706c8cb808" providerId="LiveId" clId="{D4365AD1-7D00-42D7-8E47-6E306EC2F93A}" dt="2024-11-09T06:57:41.927" v="840" actId="47"/>
        <pc:sldMkLst>
          <pc:docMk/>
          <pc:sldMk cId="3270987001" sldId="2134806536"/>
        </pc:sldMkLst>
      </pc:sldChg>
      <pc:sldChg chg="del">
        <pc:chgData name="Mohamed Ibissi" userId="90b6f8706c8cb808" providerId="LiveId" clId="{D4365AD1-7D00-42D7-8E47-6E306EC2F93A}" dt="2024-11-09T06:57:46.681" v="841" actId="47"/>
        <pc:sldMkLst>
          <pc:docMk/>
          <pc:sldMk cId="1227056114" sldId="2134806537"/>
        </pc:sldMkLst>
      </pc:sldChg>
      <pc:sldChg chg="del">
        <pc:chgData name="Mohamed Ibissi" userId="90b6f8706c8cb808" providerId="LiveId" clId="{D4365AD1-7D00-42D7-8E47-6E306EC2F93A}" dt="2024-11-09T06:57:50.089" v="842" actId="47"/>
        <pc:sldMkLst>
          <pc:docMk/>
          <pc:sldMk cId="4016797188" sldId="2134806538"/>
        </pc:sldMkLst>
      </pc:sldChg>
      <pc:sldChg chg="del">
        <pc:chgData name="Mohamed Ibissi" userId="90b6f8706c8cb808" providerId="LiveId" clId="{D4365AD1-7D00-42D7-8E47-6E306EC2F93A}" dt="2024-11-09T06:57:52.667" v="843" actId="47"/>
        <pc:sldMkLst>
          <pc:docMk/>
          <pc:sldMk cId="3539540484" sldId="2134806539"/>
        </pc:sldMkLst>
      </pc:sldChg>
      <pc:sldChg chg="addSp delSp modSp mod">
        <pc:chgData name="Mohamed Ibissi" userId="90b6f8706c8cb808" providerId="LiveId" clId="{D4365AD1-7D00-42D7-8E47-6E306EC2F93A}" dt="2024-11-11T10:35:51.901" v="1858" actId="167"/>
        <pc:sldMkLst>
          <pc:docMk/>
          <pc:sldMk cId="3949016510" sldId="2134806540"/>
        </pc:sldMkLst>
        <pc:spChg chg="del">
          <ac:chgData name="Mohamed Ibissi" userId="90b6f8706c8cb808" providerId="LiveId" clId="{D4365AD1-7D00-42D7-8E47-6E306EC2F93A}" dt="2024-11-09T07:19:18.853" v="1018" actId="478"/>
          <ac:spMkLst>
            <pc:docMk/>
            <pc:sldMk cId="3949016510" sldId="2134806540"/>
            <ac:spMk id="3" creationId="{EDC1E589-93A9-D3FA-E0A4-9B7905822A7C}"/>
          </ac:spMkLst>
        </pc:spChg>
        <pc:spChg chg="add del mod">
          <ac:chgData name="Mohamed Ibissi" userId="90b6f8706c8cb808" providerId="LiveId" clId="{D4365AD1-7D00-42D7-8E47-6E306EC2F93A}" dt="2024-11-09T07:19:38.082" v="1020" actId="478"/>
          <ac:spMkLst>
            <pc:docMk/>
            <pc:sldMk cId="3949016510" sldId="2134806540"/>
            <ac:spMk id="6" creationId="{71C0FA2F-A547-D14A-4DBD-A119838761E7}"/>
          </ac:spMkLst>
        </pc:spChg>
        <pc:spChg chg="del">
          <ac:chgData name="Mohamed Ibissi" userId="90b6f8706c8cb808" providerId="LiveId" clId="{D4365AD1-7D00-42D7-8E47-6E306EC2F93A}" dt="2024-11-09T07:19:18.853" v="1018" actId="478"/>
          <ac:spMkLst>
            <pc:docMk/>
            <pc:sldMk cId="3949016510" sldId="2134806540"/>
            <ac:spMk id="7" creationId="{5A80BCBE-FE51-5959-98BA-98D5DA37C8F4}"/>
          </ac:spMkLst>
        </pc:spChg>
        <pc:spChg chg="mod">
          <ac:chgData name="Mohamed Ibissi" userId="90b6f8706c8cb808" providerId="LiveId" clId="{D4365AD1-7D00-42D7-8E47-6E306EC2F93A}" dt="2024-11-09T07:20:02.818" v="1022"/>
          <ac:spMkLst>
            <pc:docMk/>
            <pc:sldMk cId="3949016510" sldId="2134806540"/>
            <ac:spMk id="8" creationId="{29AD50D3-BAEC-8652-8A88-F347A09E6F0A}"/>
          </ac:spMkLst>
        </pc:spChg>
        <pc:spChg chg="add mod">
          <ac:chgData name="Mohamed Ibissi" userId="90b6f8706c8cb808" providerId="LiveId" clId="{D4365AD1-7D00-42D7-8E47-6E306EC2F93A}" dt="2024-11-09T07:19:47.667" v="1021"/>
          <ac:spMkLst>
            <pc:docMk/>
            <pc:sldMk cId="3949016510" sldId="2134806540"/>
            <ac:spMk id="9" creationId="{B966FAB3-A5BD-496F-B206-A7DDD74F1746}"/>
          </ac:spMkLst>
        </pc:spChg>
        <pc:spChg chg="add mod">
          <ac:chgData name="Mohamed Ibissi" userId="90b6f8706c8cb808" providerId="LiveId" clId="{D4365AD1-7D00-42D7-8E47-6E306EC2F93A}" dt="2024-11-09T07:19:47.667" v="1021"/>
          <ac:spMkLst>
            <pc:docMk/>
            <pc:sldMk cId="3949016510" sldId="2134806540"/>
            <ac:spMk id="10" creationId="{630EBFFF-6035-087D-C3A0-DF7BB17CD488}"/>
          </ac:spMkLst>
        </pc:spChg>
        <pc:graphicFrameChg chg="del">
          <ac:chgData name="Mohamed Ibissi" userId="90b6f8706c8cb808" providerId="LiveId" clId="{D4365AD1-7D00-42D7-8E47-6E306EC2F93A}" dt="2024-11-11T10:35:48.369" v="1856" actId="478"/>
          <ac:graphicFrameMkLst>
            <pc:docMk/>
            <pc:sldMk cId="3949016510" sldId="2134806540"/>
            <ac:graphicFrameMk id="4" creationId="{D42DC917-0BB9-5D0D-FA87-CC183C48B419}"/>
          </ac:graphicFrameMkLst>
        </pc:graphicFrameChg>
        <pc:picChg chg="del">
          <ac:chgData name="Mohamed Ibissi" userId="90b6f8706c8cb808" providerId="LiveId" clId="{D4365AD1-7D00-42D7-8E47-6E306EC2F93A}" dt="2024-11-09T07:19:18.853" v="1018" actId="478"/>
          <ac:picMkLst>
            <pc:docMk/>
            <pc:sldMk cId="3949016510" sldId="2134806540"/>
            <ac:picMk id="2" creationId="{4213562F-B267-5149-AC91-62A87862F730}"/>
          </ac:picMkLst>
        </pc:picChg>
        <pc:picChg chg="add mod ord">
          <ac:chgData name="Mohamed Ibissi" userId="90b6f8706c8cb808" providerId="LiveId" clId="{D4365AD1-7D00-42D7-8E47-6E306EC2F93A}" dt="2024-11-11T10:35:51.901" v="1858" actId="167"/>
          <ac:picMkLst>
            <pc:docMk/>
            <pc:sldMk cId="3949016510" sldId="2134806540"/>
            <ac:picMk id="2" creationId="{F3EF39F5-D9DA-211D-2EDB-59112336C508}"/>
          </ac:picMkLst>
        </pc:picChg>
        <pc:picChg chg="add mod">
          <ac:chgData name="Mohamed Ibissi" userId="90b6f8706c8cb808" providerId="LiveId" clId="{D4365AD1-7D00-42D7-8E47-6E306EC2F93A}" dt="2024-11-09T07:19:34.409" v="1019"/>
          <ac:picMkLst>
            <pc:docMk/>
            <pc:sldMk cId="3949016510" sldId="2134806540"/>
            <ac:picMk id="5" creationId="{05B0492E-78D1-B28F-E074-F1C0360E3957}"/>
          </ac:picMkLst>
        </pc:picChg>
      </pc:sldChg>
      <pc:sldChg chg="del">
        <pc:chgData name="Mohamed Ibissi" userId="90b6f8706c8cb808" providerId="LiveId" clId="{D4365AD1-7D00-42D7-8E47-6E306EC2F93A}" dt="2024-11-09T07:20:32.279" v="1023" actId="47"/>
        <pc:sldMkLst>
          <pc:docMk/>
          <pc:sldMk cId="3242488858" sldId="2134806541"/>
        </pc:sldMkLst>
      </pc:sldChg>
      <pc:sldChg chg="del">
        <pc:chgData name="Mohamed Ibissi" userId="90b6f8706c8cb808" providerId="LiveId" clId="{D4365AD1-7D00-42D7-8E47-6E306EC2F93A}" dt="2024-11-09T07:20:35.076" v="1024" actId="47"/>
        <pc:sldMkLst>
          <pc:docMk/>
          <pc:sldMk cId="3059698149" sldId="2134806542"/>
        </pc:sldMkLst>
      </pc:sldChg>
      <pc:sldChg chg="addSp delSp modSp mod modAnim">
        <pc:chgData name="Mohamed Ibissi" userId="90b6f8706c8cb808" providerId="LiveId" clId="{D4365AD1-7D00-42D7-8E47-6E306EC2F93A}" dt="2024-11-11T17:11:17.956" v="2036"/>
        <pc:sldMkLst>
          <pc:docMk/>
          <pc:sldMk cId="1326812117" sldId="2134806543"/>
        </pc:sldMkLst>
        <pc:spChg chg="mod">
          <ac:chgData name="Mohamed Ibissi" userId="90b6f8706c8cb808" providerId="LiveId" clId="{D4365AD1-7D00-42D7-8E47-6E306EC2F93A}" dt="2024-11-11T17:02:26.090" v="1964" actId="1076"/>
          <ac:spMkLst>
            <pc:docMk/>
            <pc:sldMk cId="1326812117" sldId="2134806543"/>
            <ac:spMk id="2" creationId="{C5B9B446-6270-6C41-1EE9-9AF9F7309EE8}"/>
          </ac:spMkLst>
        </pc:spChg>
        <pc:spChg chg="del">
          <ac:chgData name="Mohamed Ibissi" userId="90b6f8706c8cb808" providerId="LiveId" clId="{D4365AD1-7D00-42D7-8E47-6E306EC2F93A}" dt="2024-11-09T07:30:22.534" v="1167" actId="478"/>
          <ac:spMkLst>
            <pc:docMk/>
            <pc:sldMk cId="1326812117" sldId="2134806543"/>
            <ac:spMk id="3" creationId="{0A045EFC-0F11-FBFA-C143-637F2493C220}"/>
          </ac:spMkLst>
        </pc:spChg>
        <pc:spChg chg="del">
          <ac:chgData name="Mohamed Ibissi" userId="90b6f8706c8cb808" providerId="LiveId" clId="{D4365AD1-7D00-42D7-8E47-6E306EC2F93A}" dt="2024-11-09T07:30:22.534" v="1167" actId="478"/>
          <ac:spMkLst>
            <pc:docMk/>
            <pc:sldMk cId="1326812117" sldId="2134806543"/>
            <ac:spMk id="6" creationId="{2E301C27-0B81-E30E-7A01-7612CB3B6D05}"/>
          </ac:spMkLst>
        </pc:spChg>
        <pc:spChg chg="add del mod">
          <ac:chgData name="Mohamed Ibissi" userId="90b6f8706c8cb808" providerId="LiveId" clId="{D4365AD1-7D00-42D7-8E47-6E306EC2F93A}" dt="2024-11-09T07:33:28.636" v="1236" actId="478"/>
          <ac:spMkLst>
            <pc:docMk/>
            <pc:sldMk cId="1326812117" sldId="2134806543"/>
            <ac:spMk id="11" creationId="{28A1C5F3-3817-80A8-C2D7-F68957805950}"/>
          </ac:spMkLst>
        </pc:spChg>
        <pc:spChg chg="add del mod">
          <ac:chgData name="Mohamed Ibissi" userId="90b6f8706c8cb808" providerId="LiveId" clId="{D4365AD1-7D00-42D7-8E47-6E306EC2F93A}" dt="2024-11-09T07:33:28.636" v="1236" actId="478"/>
          <ac:spMkLst>
            <pc:docMk/>
            <pc:sldMk cId="1326812117" sldId="2134806543"/>
            <ac:spMk id="12" creationId="{213E2759-FEA7-A4AB-A659-49F499FC99AB}"/>
          </ac:spMkLst>
        </pc:spChg>
        <pc:spChg chg="add del mod">
          <ac:chgData name="Mohamed Ibissi" userId="90b6f8706c8cb808" providerId="LiveId" clId="{D4365AD1-7D00-42D7-8E47-6E306EC2F93A}" dt="2024-11-09T07:33:28.636" v="1236" actId="478"/>
          <ac:spMkLst>
            <pc:docMk/>
            <pc:sldMk cId="1326812117" sldId="2134806543"/>
            <ac:spMk id="13" creationId="{2985AE58-E6A4-69D2-387E-00246E22CB46}"/>
          </ac:spMkLst>
        </pc:spChg>
        <pc:spChg chg="add mod">
          <ac:chgData name="Mohamed Ibissi" userId="90b6f8706c8cb808" providerId="LiveId" clId="{D4365AD1-7D00-42D7-8E47-6E306EC2F93A}" dt="2024-11-09T07:34:22.090" v="1244" actId="164"/>
          <ac:spMkLst>
            <pc:docMk/>
            <pc:sldMk cId="1326812117" sldId="2134806543"/>
            <ac:spMk id="15" creationId="{F592F481-8B21-6AB0-160C-737859637C19}"/>
          </ac:spMkLst>
        </pc:spChg>
        <pc:spChg chg="add mod">
          <ac:chgData name="Mohamed Ibissi" userId="90b6f8706c8cb808" providerId="LiveId" clId="{D4365AD1-7D00-42D7-8E47-6E306EC2F93A}" dt="2024-11-09T07:34:22.090" v="1244" actId="164"/>
          <ac:spMkLst>
            <pc:docMk/>
            <pc:sldMk cId="1326812117" sldId="2134806543"/>
            <ac:spMk id="16" creationId="{AF9365B5-B80A-C904-C772-028EE7B7BF9E}"/>
          </ac:spMkLst>
        </pc:spChg>
        <pc:spChg chg="add mod">
          <ac:chgData name="Mohamed Ibissi" userId="90b6f8706c8cb808" providerId="LiveId" clId="{D4365AD1-7D00-42D7-8E47-6E306EC2F93A}" dt="2024-11-09T07:34:22.090" v="1244" actId="164"/>
          <ac:spMkLst>
            <pc:docMk/>
            <pc:sldMk cId="1326812117" sldId="2134806543"/>
            <ac:spMk id="17" creationId="{14DCDDCB-8BAA-33ED-D227-6F00B9208851}"/>
          </ac:spMkLst>
        </pc:spChg>
        <pc:spChg chg="add mod">
          <ac:chgData name="Mohamed Ibissi" userId="90b6f8706c8cb808" providerId="LiveId" clId="{D4365AD1-7D00-42D7-8E47-6E306EC2F93A}" dt="2024-11-09T07:33:37.842" v="1237" actId="164"/>
          <ac:spMkLst>
            <pc:docMk/>
            <pc:sldMk cId="1326812117" sldId="2134806543"/>
            <ac:spMk id="19" creationId="{78F7BD16-0430-2D07-5DA0-708AE7FC44F4}"/>
          </ac:spMkLst>
        </pc:spChg>
        <pc:spChg chg="add mod">
          <ac:chgData name="Mohamed Ibissi" userId="90b6f8706c8cb808" providerId="LiveId" clId="{D4365AD1-7D00-42D7-8E47-6E306EC2F93A}" dt="2024-11-09T07:33:37.842" v="1237" actId="164"/>
          <ac:spMkLst>
            <pc:docMk/>
            <pc:sldMk cId="1326812117" sldId="2134806543"/>
            <ac:spMk id="20" creationId="{CBA5242A-3853-EA54-035A-3A316EF1BF89}"/>
          </ac:spMkLst>
        </pc:spChg>
        <pc:spChg chg="add mod">
          <ac:chgData name="Mohamed Ibissi" userId="90b6f8706c8cb808" providerId="LiveId" clId="{D4365AD1-7D00-42D7-8E47-6E306EC2F93A}" dt="2024-11-09T07:33:37.842" v="1237" actId="164"/>
          <ac:spMkLst>
            <pc:docMk/>
            <pc:sldMk cId="1326812117" sldId="2134806543"/>
            <ac:spMk id="21" creationId="{55E689DD-B40C-F97A-39BE-53CE3F406D24}"/>
          </ac:spMkLst>
        </pc:spChg>
        <pc:spChg chg="mod">
          <ac:chgData name="Mohamed Ibissi" userId="90b6f8706c8cb808" providerId="LiveId" clId="{D4365AD1-7D00-42D7-8E47-6E306EC2F93A}" dt="2024-11-09T07:34:29.736" v="1246"/>
          <ac:spMkLst>
            <pc:docMk/>
            <pc:sldMk cId="1326812117" sldId="2134806543"/>
            <ac:spMk id="27" creationId="{BBB0D7A7-01B9-CAC3-39F5-04F73EC2E420}"/>
          </ac:spMkLst>
        </pc:spChg>
        <pc:spChg chg="mod">
          <ac:chgData name="Mohamed Ibissi" userId="90b6f8706c8cb808" providerId="LiveId" clId="{D4365AD1-7D00-42D7-8E47-6E306EC2F93A}" dt="2024-11-09T07:34:29.736" v="1246"/>
          <ac:spMkLst>
            <pc:docMk/>
            <pc:sldMk cId="1326812117" sldId="2134806543"/>
            <ac:spMk id="28" creationId="{97CABEDD-628A-839E-B558-7E4901170BE8}"/>
          </ac:spMkLst>
        </pc:spChg>
        <pc:spChg chg="mod">
          <ac:chgData name="Mohamed Ibissi" userId="90b6f8706c8cb808" providerId="LiveId" clId="{D4365AD1-7D00-42D7-8E47-6E306EC2F93A}" dt="2024-11-09T07:34:29.736" v="1246"/>
          <ac:spMkLst>
            <pc:docMk/>
            <pc:sldMk cId="1326812117" sldId="2134806543"/>
            <ac:spMk id="29" creationId="{389894F2-1217-1C57-6A84-BAB0A3FC833B}"/>
          </ac:spMkLst>
        </pc:spChg>
        <pc:spChg chg="mod">
          <ac:chgData name="Mohamed Ibissi" userId="90b6f8706c8cb808" providerId="LiveId" clId="{D4365AD1-7D00-42D7-8E47-6E306EC2F93A}" dt="2024-11-09T07:34:44.430" v="1253"/>
          <ac:spMkLst>
            <pc:docMk/>
            <pc:sldMk cId="1326812117" sldId="2134806543"/>
            <ac:spMk id="33" creationId="{B4496E5B-2953-FDC1-32DF-BF62D1FD57FD}"/>
          </ac:spMkLst>
        </pc:spChg>
        <pc:spChg chg="mod">
          <ac:chgData name="Mohamed Ibissi" userId="90b6f8706c8cb808" providerId="LiveId" clId="{D4365AD1-7D00-42D7-8E47-6E306EC2F93A}" dt="2024-11-10T23:15:14.352" v="1536" actId="1076"/>
          <ac:spMkLst>
            <pc:docMk/>
            <pc:sldMk cId="1326812117" sldId="2134806543"/>
            <ac:spMk id="34" creationId="{994EF7F2-7977-C18C-7535-CEDDA4EF72D7}"/>
          </ac:spMkLst>
        </pc:spChg>
        <pc:spChg chg="mod">
          <ac:chgData name="Mohamed Ibissi" userId="90b6f8706c8cb808" providerId="LiveId" clId="{D4365AD1-7D00-42D7-8E47-6E306EC2F93A}" dt="2024-11-10T23:15:14.352" v="1536" actId="1076"/>
          <ac:spMkLst>
            <pc:docMk/>
            <pc:sldMk cId="1326812117" sldId="2134806543"/>
            <ac:spMk id="35" creationId="{0CEF81F5-8882-4FD1-8807-9B1D83883A22}"/>
          </ac:spMkLst>
        </pc:spChg>
        <pc:grpChg chg="add mod">
          <ac:chgData name="Mohamed Ibissi" userId="90b6f8706c8cb808" providerId="LiveId" clId="{D4365AD1-7D00-42D7-8E47-6E306EC2F93A}" dt="2024-11-09T07:34:07.361" v="1242" actId="164"/>
          <ac:grpSpMkLst>
            <pc:docMk/>
            <pc:sldMk cId="1326812117" sldId="2134806543"/>
            <ac:grpSpMk id="22" creationId="{8FFE7F5B-B338-D82C-A497-CDE915924411}"/>
          </ac:grpSpMkLst>
        </pc:grpChg>
        <pc:grpChg chg="add mod">
          <ac:chgData name="Mohamed Ibissi" userId="90b6f8706c8cb808" providerId="LiveId" clId="{D4365AD1-7D00-42D7-8E47-6E306EC2F93A}" dt="2024-11-11T17:04:14.586" v="1991" actId="1037"/>
          <ac:grpSpMkLst>
            <pc:docMk/>
            <pc:sldMk cId="1326812117" sldId="2134806543"/>
            <ac:grpSpMk id="23" creationId="{6BC095CB-D026-70AA-F39D-30D303DF6B64}"/>
          </ac:grpSpMkLst>
        </pc:grpChg>
        <pc:grpChg chg="add mod">
          <ac:chgData name="Mohamed Ibissi" userId="90b6f8706c8cb808" providerId="LiveId" clId="{D4365AD1-7D00-42D7-8E47-6E306EC2F93A}" dt="2024-11-11T17:04:14.586" v="1991" actId="1037"/>
          <ac:grpSpMkLst>
            <pc:docMk/>
            <pc:sldMk cId="1326812117" sldId="2134806543"/>
            <ac:grpSpMk id="24" creationId="{1C1B722E-60F4-1EAB-CF2F-5C04207E2C0A}"/>
          </ac:grpSpMkLst>
        </pc:grpChg>
        <pc:grpChg chg="add mod">
          <ac:chgData name="Mohamed Ibissi" userId="90b6f8706c8cb808" providerId="LiveId" clId="{D4365AD1-7D00-42D7-8E47-6E306EC2F93A}" dt="2024-11-09T07:34:40.414" v="1250" actId="1076"/>
          <ac:grpSpMkLst>
            <pc:docMk/>
            <pc:sldMk cId="1326812117" sldId="2134806543"/>
            <ac:grpSpMk id="25" creationId="{E8AC03AF-915B-59F7-24BF-C53FD7F2BFAD}"/>
          </ac:grpSpMkLst>
        </pc:grpChg>
        <pc:grpChg chg="add mod">
          <ac:chgData name="Mohamed Ibissi" userId="90b6f8706c8cb808" providerId="LiveId" clId="{D4365AD1-7D00-42D7-8E47-6E306EC2F93A}" dt="2024-11-11T17:04:44.183" v="2019" actId="1038"/>
          <ac:grpSpMkLst>
            <pc:docMk/>
            <pc:sldMk cId="1326812117" sldId="2134806543"/>
            <ac:grpSpMk id="31" creationId="{BB07A8E2-AD7D-77DD-C626-070CBB96371A}"/>
          </ac:grpSpMkLst>
        </pc:grpChg>
        <pc:graphicFrameChg chg="del">
          <ac:chgData name="Mohamed Ibissi" userId="90b6f8706c8cb808" providerId="LiveId" clId="{D4365AD1-7D00-42D7-8E47-6E306EC2F93A}" dt="2024-11-11T10:36:55.704" v="1871" actId="478"/>
          <ac:graphicFrameMkLst>
            <pc:docMk/>
            <pc:sldMk cId="1326812117" sldId="2134806543"/>
            <ac:graphicFrameMk id="4" creationId="{386DF3D2-FCD0-A849-93C8-B56B6D5D9DB4}"/>
          </ac:graphicFrameMkLst>
        </pc:graphicFrameChg>
        <pc:picChg chg="add mod ord">
          <ac:chgData name="Mohamed Ibissi" userId="90b6f8706c8cb808" providerId="LiveId" clId="{D4365AD1-7D00-42D7-8E47-6E306EC2F93A}" dt="2024-11-11T10:36:58.846" v="1873" actId="167"/>
          <ac:picMkLst>
            <pc:docMk/>
            <pc:sldMk cId="1326812117" sldId="2134806543"/>
            <ac:picMk id="3" creationId="{C0568982-7DE2-2930-8F46-9AE6AA43614B}"/>
          </ac:picMkLst>
        </pc:picChg>
        <pc:picChg chg="del">
          <ac:chgData name="Mohamed Ibissi" userId="90b6f8706c8cb808" providerId="LiveId" clId="{D4365AD1-7D00-42D7-8E47-6E306EC2F93A}" dt="2024-11-09T07:30:22.534" v="1167" actId="478"/>
          <ac:picMkLst>
            <pc:docMk/>
            <pc:sldMk cId="1326812117" sldId="2134806543"/>
            <ac:picMk id="7" creationId="{A528D918-A088-62B8-30CA-08D3F1EE836E}"/>
          </ac:picMkLst>
        </pc:picChg>
        <pc:picChg chg="del">
          <ac:chgData name="Mohamed Ibissi" userId="90b6f8706c8cb808" providerId="LiveId" clId="{D4365AD1-7D00-42D7-8E47-6E306EC2F93A}" dt="2024-11-09T07:30:22.534" v="1167" actId="478"/>
          <ac:picMkLst>
            <pc:docMk/>
            <pc:sldMk cId="1326812117" sldId="2134806543"/>
            <ac:picMk id="8" creationId="{40A35FC0-2FD3-4008-FF99-4F198DCE9476}"/>
          </ac:picMkLst>
        </pc:picChg>
        <pc:picChg chg="del">
          <ac:chgData name="Mohamed Ibissi" userId="90b6f8706c8cb808" providerId="LiveId" clId="{D4365AD1-7D00-42D7-8E47-6E306EC2F93A}" dt="2024-11-09T07:30:22.534" v="1167" actId="478"/>
          <ac:picMkLst>
            <pc:docMk/>
            <pc:sldMk cId="1326812117" sldId="2134806543"/>
            <ac:picMk id="9" creationId="{147E6334-3849-A1EA-22C9-5097F797866A}"/>
          </ac:picMkLst>
        </pc:picChg>
        <pc:picChg chg="add del mod">
          <ac:chgData name="Mohamed Ibissi" userId="90b6f8706c8cb808" providerId="LiveId" clId="{D4365AD1-7D00-42D7-8E47-6E306EC2F93A}" dt="2024-11-09T07:33:28.636" v="1236" actId="478"/>
          <ac:picMkLst>
            <pc:docMk/>
            <pc:sldMk cId="1326812117" sldId="2134806543"/>
            <ac:picMk id="10" creationId="{49516339-56E9-6DDC-C3B0-751A69C1E957}"/>
          </ac:picMkLst>
        </pc:picChg>
        <pc:picChg chg="add mod">
          <ac:chgData name="Mohamed Ibissi" userId="90b6f8706c8cb808" providerId="LiveId" clId="{D4365AD1-7D00-42D7-8E47-6E306EC2F93A}" dt="2024-11-09T07:34:22.090" v="1244" actId="164"/>
          <ac:picMkLst>
            <pc:docMk/>
            <pc:sldMk cId="1326812117" sldId="2134806543"/>
            <ac:picMk id="14" creationId="{97A259A9-EE54-8C23-537A-1A9B92B6A636}"/>
          </ac:picMkLst>
        </pc:picChg>
        <pc:picChg chg="add mod">
          <ac:chgData name="Mohamed Ibissi" userId="90b6f8706c8cb808" providerId="LiveId" clId="{D4365AD1-7D00-42D7-8E47-6E306EC2F93A}" dt="2024-11-09T07:34:07.361" v="1242" actId="164"/>
          <ac:picMkLst>
            <pc:docMk/>
            <pc:sldMk cId="1326812117" sldId="2134806543"/>
            <ac:picMk id="18" creationId="{6B4A14AA-BE20-B3CE-9DE2-D3C184D1E29C}"/>
          </ac:picMkLst>
        </pc:picChg>
        <pc:picChg chg="mod">
          <ac:chgData name="Mohamed Ibissi" userId="90b6f8706c8cb808" providerId="LiveId" clId="{D4365AD1-7D00-42D7-8E47-6E306EC2F93A}" dt="2024-11-09T07:34:29.736" v="1246"/>
          <ac:picMkLst>
            <pc:docMk/>
            <pc:sldMk cId="1326812117" sldId="2134806543"/>
            <ac:picMk id="26" creationId="{83AC009B-6885-135C-E3E4-7D9E422ECDB8}"/>
          </ac:picMkLst>
        </pc:picChg>
        <pc:picChg chg="mod">
          <ac:chgData name="Mohamed Ibissi" userId="90b6f8706c8cb808" providerId="LiveId" clId="{D4365AD1-7D00-42D7-8E47-6E306EC2F93A}" dt="2024-11-09T07:34:44.430" v="1253"/>
          <ac:picMkLst>
            <pc:docMk/>
            <pc:sldMk cId="1326812117" sldId="2134806543"/>
            <ac:picMk id="32" creationId="{BDCA5D2C-0888-4995-8E55-632E578A8C83}"/>
          </ac:picMkLst>
        </pc:picChg>
        <pc:cxnChg chg="add mod">
          <ac:chgData name="Mohamed Ibissi" userId="90b6f8706c8cb808" providerId="LiveId" clId="{D4365AD1-7D00-42D7-8E47-6E306EC2F93A}" dt="2024-11-09T07:34:29.736" v="1246"/>
          <ac:cxnSpMkLst>
            <pc:docMk/>
            <pc:sldMk cId="1326812117" sldId="2134806543"/>
            <ac:cxnSpMk id="30" creationId="{D041E35D-7ABF-9480-F8AB-61170904EC75}"/>
          </ac:cxnSpMkLst>
        </pc:cxnChg>
        <pc:cxnChg chg="add mod">
          <ac:chgData name="Mohamed Ibissi" userId="90b6f8706c8cb808" providerId="LiveId" clId="{D4365AD1-7D00-42D7-8E47-6E306EC2F93A}" dt="2024-11-11T17:04:22.637" v="2003" actId="1037"/>
          <ac:cxnSpMkLst>
            <pc:docMk/>
            <pc:sldMk cId="1326812117" sldId="2134806543"/>
            <ac:cxnSpMk id="36" creationId="{051C61D1-ABA3-5599-BC00-92A052252786}"/>
          </ac:cxnSpMkLst>
        </pc:cxnChg>
      </pc:sldChg>
      <pc:sldChg chg="del">
        <pc:chgData name="Mohamed Ibissi" userId="90b6f8706c8cb808" providerId="LiveId" clId="{D4365AD1-7D00-42D7-8E47-6E306EC2F93A}" dt="2024-11-09T07:32:13.900" v="1229" actId="47"/>
        <pc:sldMkLst>
          <pc:docMk/>
          <pc:sldMk cId="758285836" sldId="2134806544"/>
        </pc:sldMkLst>
      </pc:sldChg>
      <pc:sldChg chg="addSp delSp modSp mod">
        <pc:chgData name="Mohamed Ibissi" userId="90b6f8706c8cb808" providerId="LiveId" clId="{D4365AD1-7D00-42D7-8E47-6E306EC2F93A}" dt="2024-11-11T10:37:36.806" v="1885" actId="167"/>
        <pc:sldMkLst>
          <pc:docMk/>
          <pc:sldMk cId="398417903" sldId="2134806545"/>
        </pc:sldMkLst>
        <pc:graphicFrameChg chg="del">
          <ac:chgData name="Mohamed Ibissi" userId="90b6f8706c8cb808" providerId="LiveId" clId="{D4365AD1-7D00-42D7-8E47-6E306EC2F93A}" dt="2024-11-11T10:37:33.258" v="1883" actId="478"/>
          <ac:graphicFrameMkLst>
            <pc:docMk/>
            <pc:sldMk cId="398417903" sldId="2134806545"/>
            <ac:graphicFrameMk id="4" creationId="{4F2A3BA7-FE67-6FED-2E0F-4C09704BD840}"/>
          </ac:graphicFrameMkLst>
        </pc:graphicFrameChg>
        <pc:picChg chg="add mod ord">
          <ac:chgData name="Mohamed Ibissi" userId="90b6f8706c8cb808" providerId="LiveId" clId="{D4365AD1-7D00-42D7-8E47-6E306EC2F93A}" dt="2024-11-11T10:37:36.806" v="1885" actId="167"/>
          <ac:picMkLst>
            <pc:docMk/>
            <pc:sldMk cId="398417903" sldId="2134806545"/>
            <ac:picMk id="5" creationId="{2F573782-5E8A-64A9-1DB7-17CC7A0C372C}"/>
          </ac:picMkLst>
        </pc:picChg>
      </pc:sldChg>
      <pc:sldChg chg="addSp delSp modSp del mod">
        <pc:chgData name="Mohamed Ibissi" userId="90b6f8706c8cb808" providerId="LiveId" clId="{D4365AD1-7D00-42D7-8E47-6E306EC2F93A}" dt="2024-11-10T21:47:29.927" v="1523" actId="47"/>
        <pc:sldMkLst>
          <pc:docMk/>
          <pc:sldMk cId="3629360349" sldId="2134806546"/>
        </pc:sldMkLst>
        <pc:spChg chg="add mod">
          <ac:chgData name="Mohamed Ibissi" userId="90b6f8706c8cb808" providerId="LiveId" clId="{D4365AD1-7D00-42D7-8E47-6E306EC2F93A}" dt="2024-11-09T07:38:17.316" v="1296"/>
          <ac:spMkLst>
            <pc:docMk/>
            <pc:sldMk cId="3629360349" sldId="2134806546"/>
            <ac:spMk id="6" creationId="{033D8F56-6BA5-2E3D-9A4C-1D52F884F6C0}"/>
          </ac:spMkLst>
        </pc:spChg>
        <pc:spChg chg="del">
          <ac:chgData name="Mohamed Ibissi" userId="90b6f8706c8cb808" providerId="LiveId" clId="{D4365AD1-7D00-42D7-8E47-6E306EC2F93A}" dt="2024-11-09T07:37:59.851" v="1294" actId="478"/>
          <ac:spMkLst>
            <pc:docMk/>
            <pc:sldMk cId="3629360349" sldId="2134806546"/>
            <ac:spMk id="7" creationId="{F1D1BD4B-A14D-809B-848D-87174A0905F4}"/>
          </ac:spMkLst>
        </pc:spChg>
        <pc:picChg chg="add mod">
          <ac:chgData name="Mohamed Ibissi" userId="90b6f8706c8cb808" providerId="LiveId" clId="{D4365AD1-7D00-42D7-8E47-6E306EC2F93A}" dt="2024-11-09T07:38:17.316" v="1296"/>
          <ac:picMkLst>
            <pc:docMk/>
            <pc:sldMk cId="3629360349" sldId="2134806546"/>
            <ac:picMk id="3" creationId="{AE5C1610-669D-1E55-E9DE-7F3716253CE8}"/>
          </ac:picMkLst>
        </pc:picChg>
        <pc:picChg chg="del">
          <ac:chgData name="Mohamed Ibissi" userId="90b6f8706c8cb808" providerId="LiveId" clId="{D4365AD1-7D00-42D7-8E47-6E306EC2F93A}" dt="2024-11-09T07:38:01.601" v="1295" actId="478"/>
          <ac:picMkLst>
            <pc:docMk/>
            <pc:sldMk cId="3629360349" sldId="2134806546"/>
            <ac:picMk id="5" creationId="{F6559AAA-F8BA-7975-705A-4825D12AA81F}"/>
          </ac:picMkLst>
        </pc:picChg>
      </pc:sldChg>
      <pc:sldChg chg="addSp delSp modSp mod delAnim modAnim">
        <pc:chgData name="Mohamed Ibissi" userId="90b6f8706c8cb808" providerId="LiveId" clId="{D4365AD1-7D00-42D7-8E47-6E306EC2F93A}" dt="2024-11-11T10:37:46.141" v="1888" actId="167"/>
        <pc:sldMkLst>
          <pc:docMk/>
          <pc:sldMk cId="161347642" sldId="2134806547"/>
        </pc:sldMkLst>
        <pc:spChg chg="mod">
          <ac:chgData name="Mohamed Ibissi" userId="90b6f8706c8cb808" providerId="LiveId" clId="{D4365AD1-7D00-42D7-8E47-6E306EC2F93A}" dt="2024-11-10T21:47:18.202" v="1522"/>
          <ac:spMkLst>
            <pc:docMk/>
            <pc:sldMk cId="161347642" sldId="2134806547"/>
            <ac:spMk id="2" creationId="{65A95711-63B4-025B-1ECC-318D1D2FEA53}"/>
          </ac:spMkLst>
        </pc:spChg>
        <pc:spChg chg="del">
          <ac:chgData name="Mohamed Ibissi" userId="90b6f8706c8cb808" providerId="LiveId" clId="{D4365AD1-7D00-42D7-8E47-6E306EC2F93A}" dt="2024-11-09T07:38:45.043" v="1297" actId="478"/>
          <ac:spMkLst>
            <pc:docMk/>
            <pc:sldMk cId="161347642" sldId="2134806547"/>
            <ac:spMk id="7" creationId="{2ED3EE43-3CF9-06B4-E8BD-2FF2B3A8AC39}"/>
          </ac:spMkLst>
        </pc:spChg>
        <pc:spChg chg="add mod">
          <ac:chgData name="Mohamed Ibissi" userId="90b6f8706c8cb808" providerId="LiveId" clId="{D4365AD1-7D00-42D7-8E47-6E306EC2F93A}" dt="2024-11-09T07:39:26.340" v="1315"/>
          <ac:spMkLst>
            <pc:docMk/>
            <pc:sldMk cId="161347642" sldId="2134806547"/>
            <ac:spMk id="9" creationId="{4D7A1F8C-C49B-0082-BFCD-10396F5B38DD}"/>
          </ac:spMkLst>
        </pc:spChg>
        <pc:graphicFrameChg chg="del">
          <ac:chgData name="Mohamed Ibissi" userId="90b6f8706c8cb808" providerId="LiveId" clId="{D4365AD1-7D00-42D7-8E47-6E306EC2F93A}" dt="2024-11-11T10:37:43.077" v="1886" actId="478"/>
          <ac:graphicFrameMkLst>
            <pc:docMk/>
            <pc:sldMk cId="161347642" sldId="2134806547"/>
            <ac:graphicFrameMk id="4" creationId="{244EF327-558D-C7E9-A772-758122C28B54}"/>
          </ac:graphicFrameMkLst>
        </pc:graphicFrameChg>
        <pc:picChg chg="del">
          <ac:chgData name="Mohamed Ibissi" userId="90b6f8706c8cb808" providerId="LiveId" clId="{D4365AD1-7D00-42D7-8E47-6E306EC2F93A}" dt="2024-11-09T07:38:45.043" v="1297" actId="478"/>
          <ac:picMkLst>
            <pc:docMk/>
            <pc:sldMk cId="161347642" sldId="2134806547"/>
            <ac:picMk id="3" creationId="{D272E9FC-A666-22B4-503F-5624A81FE7B7}"/>
          </ac:picMkLst>
        </pc:picChg>
        <pc:picChg chg="add mod ord">
          <ac:chgData name="Mohamed Ibissi" userId="90b6f8706c8cb808" providerId="LiveId" clId="{D4365AD1-7D00-42D7-8E47-6E306EC2F93A}" dt="2024-11-11T10:37:46.141" v="1888" actId="167"/>
          <ac:picMkLst>
            <pc:docMk/>
            <pc:sldMk cId="161347642" sldId="2134806547"/>
            <ac:picMk id="3" creationId="{EA58C2E9-4A94-2A30-302D-BEB8EC594D9A}"/>
          </ac:picMkLst>
        </pc:picChg>
        <pc:picChg chg="del">
          <ac:chgData name="Mohamed Ibissi" userId="90b6f8706c8cb808" providerId="LiveId" clId="{D4365AD1-7D00-42D7-8E47-6E306EC2F93A}" dt="2024-11-09T07:38:46.621" v="1298" actId="478"/>
          <ac:picMkLst>
            <pc:docMk/>
            <pc:sldMk cId="161347642" sldId="2134806547"/>
            <ac:picMk id="5" creationId="{893ABFAC-463B-CB1A-041D-7DC10F58925A}"/>
          </ac:picMkLst>
        </pc:picChg>
        <pc:picChg chg="add mod">
          <ac:chgData name="Mohamed Ibissi" userId="90b6f8706c8cb808" providerId="LiveId" clId="{D4365AD1-7D00-42D7-8E47-6E306EC2F93A}" dt="2024-11-09T07:39:26.340" v="1315"/>
          <ac:picMkLst>
            <pc:docMk/>
            <pc:sldMk cId="161347642" sldId="2134806547"/>
            <ac:picMk id="8" creationId="{4270A1C9-5105-4486-B563-9AB43D2F1D7B}"/>
          </ac:picMkLst>
        </pc:picChg>
        <pc:picChg chg="add mod">
          <ac:chgData name="Mohamed Ibissi" userId="90b6f8706c8cb808" providerId="LiveId" clId="{D4365AD1-7D00-42D7-8E47-6E306EC2F93A}" dt="2024-11-09T07:39:35.658" v="1316"/>
          <ac:picMkLst>
            <pc:docMk/>
            <pc:sldMk cId="161347642" sldId="2134806547"/>
            <ac:picMk id="10" creationId="{0488B345-864B-DD8C-644D-E533B08F435C}"/>
          </ac:picMkLst>
        </pc:picChg>
        <pc:picChg chg="add mod">
          <ac:chgData name="Mohamed Ibissi" userId="90b6f8706c8cb808" providerId="LiveId" clId="{D4365AD1-7D00-42D7-8E47-6E306EC2F93A}" dt="2024-11-09T07:39:35.658" v="1316"/>
          <ac:picMkLst>
            <pc:docMk/>
            <pc:sldMk cId="161347642" sldId="2134806547"/>
            <ac:picMk id="11" creationId="{F0D3291C-39F2-5DA6-75D1-DDE8298E58CB}"/>
          </ac:picMkLst>
        </pc:picChg>
      </pc:sldChg>
      <pc:sldChg chg="del">
        <pc:chgData name="Mohamed Ibissi" userId="90b6f8706c8cb808" providerId="LiveId" clId="{D4365AD1-7D00-42D7-8E47-6E306EC2F93A}" dt="2024-11-09T07:39:49.134" v="1317" actId="47"/>
        <pc:sldMkLst>
          <pc:docMk/>
          <pc:sldMk cId="1297751552" sldId="2134806548"/>
        </pc:sldMkLst>
      </pc:sldChg>
      <pc:sldChg chg="del">
        <pc:chgData name="Mohamed Ibissi" userId="90b6f8706c8cb808" providerId="LiveId" clId="{D4365AD1-7D00-42D7-8E47-6E306EC2F93A}" dt="2024-11-09T07:39:49.807" v="1318" actId="47"/>
        <pc:sldMkLst>
          <pc:docMk/>
          <pc:sldMk cId="1828569037" sldId="2134806549"/>
        </pc:sldMkLst>
      </pc:sldChg>
      <pc:sldChg chg="del">
        <pc:chgData name="Mohamed Ibissi" userId="90b6f8706c8cb808" providerId="LiveId" clId="{D4365AD1-7D00-42D7-8E47-6E306EC2F93A}" dt="2024-11-09T07:39:50.338" v="1319" actId="47"/>
        <pc:sldMkLst>
          <pc:docMk/>
          <pc:sldMk cId="2656532324" sldId="2134806550"/>
        </pc:sldMkLst>
      </pc:sldChg>
      <pc:sldChg chg="del">
        <pc:chgData name="Mohamed Ibissi" userId="90b6f8706c8cb808" providerId="LiveId" clId="{D4365AD1-7D00-42D7-8E47-6E306EC2F93A}" dt="2024-11-09T07:39:50.760" v="1320" actId="47"/>
        <pc:sldMkLst>
          <pc:docMk/>
          <pc:sldMk cId="2089656115" sldId="2134806551"/>
        </pc:sldMkLst>
      </pc:sldChg>
      <pc:sldChg chg="del">
        <pc:chgData name="Mohamed Ibissi" userId="90b6f8706c8cb808" providerId="LiveId" clId="{D4365AD1-7D00-42D7-8E47-6E306EC2F93A}" dt="2024-11-09T07:39:51.307" v="1321" actId="47"/>
        <pc:sldMkLst>
          <pc:docMk/>
          <pc:sldMk cId="2801520639" sldId="2134806552"/>
        </pc:sldMkLst>
      </pc:sldChg>
      <pc:sldChg chg="del">
        <pc:chgData name="Mohamed Ibissi" userId="90b6f8706c8cb808" providerId="LiveId" clId="{D4365AD1-7D00-42D7-8E47-6E306EC2F93A}" dt="2024-11-09T07:39:51.776" v="1322" actId="47"/>
        <pc:sldMkLst>
          <pc:docMk/>
          <pc:sldMk cId="541806717" sldId="2134806553"/>
        </pc:sldMkLst>
      </pc:sldChg>
      <pc:sldChg chg="del">
        <pc:chgData name="Mohamed Ibissi" userId="90b6f8706c8cb808" providerId="LiveId" clId="{D4365AD1-7D00-42D7-8E47-6E306EC2F93A}" dt="2024-11-09T07:39:52.182" v="1323" actId="47"/>
        <pc:sldMkLst>
          <pc:docMk/>
          <pc:sldMk cId="818504656" sldId="2134806554"/>
        </pc:sldMkLst>
      </pc:sldChg>
      <pc:sldChg chg="del">
        <pc:chgData name="Mohamed Ibissi" userId="90b6f8706c8cb808" providerId="LiveId" clId="{D4365AD1-7D00-42D7-8E47-6E306EC2F93A}" dt="2024-11-09T07:39:52.605" v="1324" actId="47"/>
        <pc:sldMkLst>
          <pc:docMk/>
          <pc:sldMk cId="2382150414" sldId="2134806555"/>
        </pc:sldMkLst>
      </pc:sldChg>
      <pc:sldChg chg="del">
        <pc:chgData name="Mohamed Ibissi" userId="90b6f8706c8cb808" providerId="LiveId" clId="{D4365AD1-7D00-42D7-8E47-6E306EC2F93A}" dt="2024-11-09T07:39:53.026" v="1325" actId="47"/>
        <pc:sldMkLst>
          <pc:docMk/>
          <pc:sldMk cId="4227159479" sldId="2134806556"/>
        </pc:sldMkLst>
      </pc:sldChg>
      <pc:sldChg chg="del">
        <pc:chgData name="Mohamed Ibissi" userId="90b6f8706c8cb808" providerId="LiveId" clId="{D4365AD1-7D00-42D7-8E47-6E306EC2F93A}" dt="2024-11-09T07:39:53.480" v="1326" actId="47"/>
        <pc:sldMkLst>
          <pc:docMk/>
          <pc:sldMk cId="3671901834" sldId="2134806557"/>
        </pc:sldMkLst>
      </pc:sldChg>
      <pc:sldChg chg="del">
        <pc:chgData name="Mohamed Ibissi" userId="90b6f8706c8cb808" providerId="LiveId" clId="{D4365AD1-7D00-42D7-8E47-6E306EC2F93A}" dt="2024-11-09T07:39:54.074" v="1327" actId="47"/>
        <pc:sldMkLst>
          <pc:docMk/>
          <pc:sldMk cId="411284194" sldId="2134806558"/>
        </pc:sldMkLst>
      </pc:sldChg>
      <pc:sldChg chg="del">
        <pc:chgData name="Mohamed Ibissi" userId="90b6f8706c8cb808" providerId="LiveId" clId="{D4365AD1-7D00-42D7-8E47-6E306EC2F93A}" dt="2024-11-09T07:39:54.652" v="1328" actId="47"/>
        <pc:sldMkLst>
          <pc:docMk/>
          <pc:sldMk cId="1696761692" sldId="2134806559"/>
        </pc:sldMkLst>
      </pc:sldChg>
      <pc:sldChg chg="del">
        <pc:chgData name="Mohamed Ibissi" userId="90b6f8706c8cb808" providerId="LiveId" clId="{D4365AD1-7D00-42D7-8E47-6E306EC2F93A}" dt="2024-11-09T07:39:55.199" v="1329" actId="47"/>
        <pc:sldMkLst>
          <pc:docMk/>
          <pc:sldMk cId="2309675476" sldId="2134806560"/>
        </pc:sldMkLst>
      </pc:sldChg>
      <pc:sldChg chg="del">
        <pc:chgData name="Mohamed Ibissi" userId="90b6f8706c8cb808" providerId="LiveId" clId="{D4365AD1-7D00-42D7-8E47-6E306EC2F93A}" dt="2024-11-09T07:39:56.605" v="1330" actId="47"/>
        <pc:sldMkLst>
          <pc:docMk/>
          <pc:sldMk cId="3293199217" sldId="2134806561"/>
        </pc:sldMkLst>
      </pc:sldChg>
      <pc:sldChg chg="del">
        <pc:chgData name="Mohamed Ibissi" userId="90b6f8706c8cb808" providerId="LiveId" clId="{D4365AD1-7D00-42D7-8E47-6E306EC2F93A}" dt="2024-11-09T07:39:57.418" v="1331" actId="47"/>
        <pc:sldMkLst>
          <pc:docMk/>
          <pc:sldMk cId="1898830767" sldId="2134806562"/>
        </pc:sldMkLst>
      </pc:sldChg>
      <pc:sldChg chg="del">
        <pc:chgData name="Mohamed Ibissi" userId="90b6f8706c8cb808" providerId="LiveId" clId="{D4365AD1-7D00-42D7-8E47-6E306EC2F93A}" dt="2024-11-09T07:39:57.965" v="1332" actId="47"/>
        <pc:sldMkLst>
          <pc:docMk/>
          <pc:sldMk cId="117966170" sldId="2134806563"/>
        </pc:sldMkLst>
      </pc:sldChg>
      <pc:sldChg chg="del">
        <pc:chgData name="Mohamed Ibissi" userId="90b6f8706c8cb808" providerId="LiveId" clId="{D4365AD1-7D00-42D7-8E47-6E306EC2F93A}" dt="2024-11-09T07:39:58.887" v="1333" actId="47"/>
        <pc:sldMkLst>
          <pc:docMk/>
          <pc:sldMk cId="3841931510" sldId="2134806564"/>
        </pc:sldMkLst>
      </pc:sldChg>
      <pc:sldChg chg="del">
        <pc:chgData name="Mohamed Ibissi" userId="90b6f8706c8cb808" providerId="LiveId" clId="{D4365AD1-7D00-42D7-8E47-6E306EC2F93A}" dt="2024-11-09T07:39:59.434" v="1334" actId="47"/>
        <pc:sldMkLst>
          <pc:docMk/>
          <pc:sldMk cId="3269865949" sldId="2134806565"/>
        </pc:sldMkLst>
      </pc:sldChg>
      <pc:sldChg chg="addSp delSp modSp mod">
        <pc:chgData name="Mohamed Ibissi" userId="90b6f8706c8cb808" providerId="LiveId" clId="{D4365AD1-7D00-42D7-8E47-6E306EC2F93A}" dt="2024-11-11T10:39:42.477" v="1912" actId="167"/>
        <pc:sldMkLst>
          <pc:docMk/>
          <pc:sldMk cId="2171157245" sldId="2134806566"/>
        </pc:sldMkLst>
        <pc:spChg chg="del">
          <ac:chgData name="Mohamed Ibissi" userId="90b6f8706c8cb808" providerId="LiveId" clId="{D4365AD1-7D00-42D7-8E47-6E306EC2F93A}" dt="2024-11-09T08:18:41.740" v="1364" actId="478"/>
          <ac:spMkLst>
            <pc:docMk/>
            <pc:sldMk cId="2171157245" sldId="2134806566"/>
            <ac:spMk id="6" creationId="{190281CC-97E5-ADA3-4EB1-82DBA5A63807}"/>
          </ac:spMkLst>
        </pc:spChg>
        <pc:spChg chg="add mod">
          <ac:chgData name="Mohamed Ibissi" userId="90b6f8706c8cb808" providerId="LiveId" clId="{D4365AD1-7D00-42D7-8E47-6E306EC2F93A}" dt="2024-11-09T08:18:53.122" v="1365"/>
          <ac:spMkLst>
            <pc:docMk/>
            <pc:sldMk cId="2171157245" sldId="2134806566"/>
            <ac:spMk id="7" creationId="{927ED750-B791-7E14-7906-DD6E189C5C93}"/>
          </ac:spMkLst>
        </pc:spChg>
        <pc:graphicFrameChg chg="del">
          <ac:chgData name="Mohamed Ibissi" userId="90b6f8706c8cb808" providerId="LiveId" clId="{D4365AD1-7D00-42D7-8E47-6E306EC2F93A}" dt="2024-11-11T10:39:39.350" v="1910" actId="478"/>
          <ac:graphicFrameMkLst>
            <pc:docMk/>
            <pc:sldMk cId="2171157245" sldId="2134806566"/>
            <ac:graphicFrameMk id="3" creationId="{C9B0A731-4B20-7CF5-56BE-65AA1EB9E89C}"/>
          </ac:graphicFrameMkLst>
        </pc:graphicFrameChg>
        <pc:picChg chg="add mod">
          <ac:chgData name="Mohamed Ibissi" userId="90b6f8706c8cb808" providerId="LiveId" clId="{D4365AD1-7D00-42D7-8E47-6E306EC2F93A}" dt="2024-11-09T08:18:53.122" v="1365"/>
          <ac:picMkLst>
            <pc:docMk/>
            <pc:sldMk cId="2171157245" sldId="2134806566"/>
            <ac:picMk id="4" creationId="{81AF23C9-4423-F888-5375-43F70C76A0CB}"/>
          </ac:picMkLst>
        </pc:picChg>
        <pc:picChg chg="del">
          <ac:chgData name="Mohamed Ibissi" userId="90b6f8706c8cb808" providerId="LiveId" clId="{D4365AD1-7D00-42D7-8E47-6E306EC2F93A}" dt="2024-11-09T08:18:39.255" v="1363" actId="478"/>
          <ac:picMkLst>
            <pc:docMk/>
            <pc:sldMk cId="2171157245" sldId="2134806566"/>
            <ac:picMk id="5" creationId="{AA4B9C91-A273-658A-E2BD-5A1766E28884}"/>
          </ac:picMkLst>
        </pc:picChg>
        <pc:picChg chg="add mod ord">
          <ac:chgData name="Mohamed Ibissi" userId="90b6f8706c8cb808" providerId="LiveId" clId="{D4365AD1-7D00-42D7-8E47-6E306EC2F93A}" dt="2024-11-11T10:39:42.477" v="1912" actId="167"/>
          <ac:picMkLst>
            <pc:docMk/>
            <pc:sldMk cId="2171157245" sldId="2134806566"/>
            <ac:picMk id="5" creationId="{F45ED2C7-AD33-C51F-C696-19CB0A20B104}"/>
          </ac:picMkLst>
        </pc:picChg>
      </pc:sldChg>
      <pc:sldChg chg="addSp delSp modSp mod delAnim modAnim">
        <pc:chgData name="Mohamed Ibissi" userId="90b6f8706c8cb808" providerId="LiveId" clId="{D4365AD1-7D00-42D7-8E47-6E306EC2F93A}" dt="2024-11-11T10:39:56.030" v="1915" actId="167"/>
        <pc:sldMkLst>
          <pc:docMk/>
          <pc:sldMk cId="1042453530" sldId="2134806567"/>
        </pc:sldMkLst>
        <pc:spChg chg="add mod">
          <ac:chgData name="Mohamed Ibissi" userId="90b6f8706c8cb808" providerId="LiveId" clId="{D4365AD1-7D00-42D7-8E47-6E306EC2F93A}" dt="2024-11-09T08:19:20.463" v="1368"/>
          <ac:spMkLst>
            <pc:docMk/>
            <pc:sldMk cId="1042453530" sldId="2134806567"/>
            <ac:spMk id="5" creationId="{D733C5F9-AE0D-C779-CF3F-127CF035EE8B}"/>
          </ac:spMkLst>
        </pc:spChg>
        <pc:spChg chg="add mod">
          <ac:chgData name="Mohamed Ibissi" userId="90b6f8706c8cb808" providerId="LiveId" clId="{D4365AD1-7D00-42D7-8E47-6E306EC2F93A}" dt="2024-11-09T08:19:20.463" v="1368"/>
          <ac:spMkLst>
            <pc:docMk/>
            <pc:sldMk cId="1042453530" sldId="2134806567"/>
            <ac:spMk id="6" creationId="{B3C449A7-FAC1-625E-27FD-205F8DC8578E}"/>
          </ac:spMkLst>
        </pc:spChg>
        <pc:spChg chg="add mod">
          <ac:chgData name="Mohamed Ibissi" userId="90b6f8706c8cb808" providerId="LiveId" clId="{D4365AD1-7D00-42D7-8E47-6E306EC2F93A}" dt="2024-11-09T08:19:20.463" v="1368"/>
          <ac:spMkLst>
            <pc:docMk/>
            <pc:sldMk cId="1042453530" sldId="2134806567"/>
            <ac:spMk id="7" creationId="{B4D4CD6D-B2FA-E685-3889-A3AABEB84897}"/>
          </ac:spMkLst>
        </pc:spChg>
        <pc:spChg chg="add mod">
          <ac:chgData name="Mohamed Ibissi" userId="90b6f8706c8cb808" providerId="LiveId" clId="{D4365AD1-7D00-42D7-8E47-6E306EC2F93A}" dt="2024-11-09T08:19:20.463" v="1368"/>
          <ac:spMkLst>
            <pc:docMk/>
            <pc:sldMk cId="1042453530" sldId="2134806567"/>
            <ac:spMk id="8" creationId="{232BB56E-E629-36BC-3989-D4BD8CC66214}"/>
          </ac:spMkLst>
        </pc:spChg>
        <pc:spChg chg="del">
          <ac:chgData name="Mohamed Ibissi" userId="90b6f8706c8cb808" providerId="LiveId" clId="{D4365AD1-7D00-42D7-8E47-6E306EC2F93A}" dt="2024-11-09T08:19:03.643" v="1367" actId="478"/>
          <ac:spMkLst>
            <pc:docMk/>
            <pc:sldMk cId="1042453530" sldId="2134806567"/>
            <ac:spMk id="9" creationId="{595AF291-445B-C68A-B34D-D43C3D850A55}"/>
          </ac:spMkLst>
        </pc:spChg>
        <pc:spChg chg="del">
          <ac:chgData name="Mohamed Ibissi" userId="90b6f8706c8cb808" providerId="LiveId" clId="{D4365AD1-7D00-42D7-8E47-6E306EC2F93A}" dt="2024-11-09T08:19:03.643" v="1367" actId="478"/>
          <ac:spMkLst>
            <pc:docMk/>
            <pc:sldMk cId="1042453530" sldId="2134806567"/>
            <ac:spMk id="10" creationId="{62C20430-3B21-2C4C-7C78-C7974449D70C}"/>
          </ac:spMkLst>
        </pc:spChg>
        <pc:spChg chg="del">
          <ac:chgData name="Mohamed Ibissi" userId="90b6f8706c8cb808" providerId="LiveId" clId="{D4365AD1-7D00-42D7-8E47-6E306EC2F93A}" dt="2024-11-09T08:19:03.643" v="1367" actId="478"/>
          <ac:spMkLst>
            <pc:docMk/>
            <pc:sldMk cId="1042453530" sldId="2134806567"/>
            <ac:spMk id="11" creationId="{C6F54172-28B7-8B3C-3F29-34CBD07F8F12}"/>
          </ac:spMkLst>
        </pc:spChg>
        <pc:spChg chg="del">
          <ac:chgData name="Mohamed Ibissi" userId="90b6f8706c8cb808" providerId="LiveId" clId="{D4365AD1-7D00-42D7-8E47-6E306EC2F93A}" dt="2024-11-09T08:19:03.643" v="1367" actId="478"/>
          <ac:spMkLst>
            <pc:docMk/>
            <pc:sldMk cId="1042453530" sldId="2134806567"/>
            <ac:spMk id="12" creationId="{1255DDF5-5548-E306-2689-BB14276B5996}"/>
          </ac:spMkLst>
        </pc:spChg>
        <pc:spChg chg="add mod">
          <ac:chgData name="Mohamed Ibissi" userId="90b6f8706c8cb808" providerId="LiveId" clId="{D4365AD1-7D00-42D7-8E47-6E306EC2F93A}" dt="2024-11-09T08:19:20.463" v="1368"/>
          <ac:spMkLst>
            <pc:docMk/>
            <pc:sldMk cId="1042453530" sldId="2134806567"/>
            <ac:spMk id="14" creationId="{627679A2-4497-E06E-DDE0-8B96EF1921B5}"/>
          </ac:spMkLst>
        </pc:spChg>
        <pc:spChg chg="add mod">
          <ac:chgData name="Mohamed Ibissi" userId="90b6f8706c8cb808" providerId="LiveId" clId="{D4365AD1-7D00-42D7-8E47-6E306EC2F93A}" dt="2024-11-09T08:19:20.463" v="1368"/>
          <ac:spMkLst>
            <pc:docMk/>
            <pc:sldMk cId="1042453530" sldId="2134806567"/>
            <ac:spMk id="16" creationId="{C0282DFC-2841-A3AE-866E-5532D55F7A6E}"/>
          </ac:spMkLst>
        </pc:spChg>
        <pc:graphicFrameChg chg="del">
          <ac:chgData name="Mohamed Ibissi" userId="90b6f8706c8cb808" providerId="LiveId" clId="{D4365AD1-7D00-42D7-8E47-6E306EC2F93A}" dt="2024-11-11T10:39:52.201" v="1913" actId="478"/>
          <ac:graphicFrameMkLst>
            <pc:docMk/>
            <pc:sldMk cId="1042453530" sldId="2134806567"/>
            <ac:graphicFrameMk id="3" creationId="{44552325-67C4-67C5-A4B1-151E0585346E}"/>
          </ac:graphicFrameMkLst>
        </pc:graphicFrameChg>
        <pc:picChg chg="del">
          <ac:chgData name="Mohamed Ibissi" userId="90b6f8706c8cb808" providerId="LiveId" clId="{D4365AD1-7D00-42D7-8E47-6E306EC2F93A}" dt="2024-11-09T08:18:58.547" v="1366" actId="478"/>
          <ac:picMkLst>
            <pc:docMk/>
            <pc:sldMk cId="1042453530" sldId="2134806567"/>
            <ac:picMk id="2" creationId="{1E5C9F3B-4ADD-7811-8550-4CF77FBBC736}"/>
          </ac:picMkLst>
        </pc:picChg>
        <pc:picChg chg="add mod ord">
          <ac:chgData name="Mohamed Ibissi" userId="90b6f8706c8cb808" providerId="LiveId" clId="{D4365AD1-7D00-42D7-8E47-6E306EC2F93A}" dt="2024-11-11T10:39:56.030" v="1915" actId="167"/>
          <ac:picMkLst>
            <pc:docMk/>
            <pc:sldMk cId="1042453530" sldId="2134806567"/>
            <ac:picMk id="2" creationId="{333A9869-0860-2C96-829A-3B0E33A3C3AE}"/>
          </ac:picMkLst>
        </pc:picChg>
        <pc:picChg chg="add mod">
          <ac:chgData name="Mohamed Ibissi" userId="90b6f8706c8cb808" providerId="LiveId" clId="{D4365AD1-7D00-42D7-8E47-6E306EC2F93A}" dt="2024-11-09T08:19:20.463" v="1368"/>
          <ac:picMkLst>
            <pc:docMk/>
            <pc:sldMk cId="1042453530" sldId="2134806567"/>
            <ac:picMk id="4" creationId="{D59B0DDA-0862-5BBC-B6A7-55CC932D14BE}"/>
          </ac:picMkLst>
        </pc:picChg>
      </pc:sldChg>
      <pc:sldChg chg="addSp delSp modSp del mod">
        <pc:chgData name="Mohamed Ibissi" userId="90b6f8706c8cb808" providerId="LiveId" clId="{D4365AD1-7D00-42D7-8E47-6E306EC2F93A}" dt="2024-11-11T17:13:09.399" v="2037" actId="47"/>
        <pc:sldMkLst>
          <pc:docMk/>
          <pc:sldMk cId="206583747" sldId="2134806568"/>
        </pc:sldMkLst>
        <pc:spChg chg="add mod">
          <ac:chgData name="Mohamed Ibissi" userId="90b6f8706c8cb808" providerId="LiveId" clId="{D4365AD1-7D00-42D7-8E47-6E306EC2F93A}" dt="2024-11-09T08:20:38.312" v="1370"/>
          <ac:spMkLst>
            <pc:docMk/>
            <pc:sldMk cId="206583747" sldId="2134806568"/>
            <ac:spMk id="6" creationId="{25246D35-8A7F-15F9-6FBF-08738A2A1960}"/>
          </ac:spMkLst>
        </pc:spChg>
        <pc:graphicFrameChg chg="del">
          <ac:chgData name="Mohamed Ibissi" userId="90b6f8706c8cb808" providerId="LiveId" clId="{D4365AD1-7D00-42D7-8E47-6E306EC2F93A}" dt="2024-11-11T10:40:17.073" v="1916" actId="478"/>
          <ac:graphicFrameMkLst>
            <pc:docMk/>
            <pc:sldMk cId="206583747" sldId="2134806568"/>
            <ac:graphicFrameMk id="3" creationId="{B48FC877-E887-AE30-38AD-0CBCC09A4FCD}"/>
          </ac:graphicFrameMkLst>
        </pc:graphicFrameChg>
        <pc:picChg chg="add mod ord">
          <ac:chgData name="Mohamed Ibissi" userId="90b6f8706c8cb808" providerId="LiveId" clId="{D4365AD1-7D00-42D7-8E47-6E306EC2F93A}" dt="2024-11-11T10:40:20.699" v="1918" actId="167"/>
          <ac:picMkLst>
            <pc:docMk/>
            <pc:sldMk cId="206583747" sldId="2134806568"/>
            <ac:picMk id="4" creationId="{11883EB1-4142-05A9-7C53-73BB492BF629}"/>
          </ac:picMkLst>
        </pc:picChg>
        <pc:picChg chg="del">
          <ac:chgData name="Mohamed Ibissi" userId="90b6f8706c8cb808" providerId="LiveId" clId="{D4365AD1-7D00-42D7-8E47-6E306EC2F93A}" dt="2024-11-09T08:20:26.315" v="1369" actId="478"/>
          <ac:picMkLst>
            <pc:docMk/>
            <pc:sldMk cId="206583747" sldId="2134806568"/>
            <ac:picMk id="4" creationId="{3DB0F15A-1CEA-4DB5-3A77-6589CF616166}"/>
          </ac:picMkLst>
        </pc:picChg>
        <pc:picChg chg="add mod">
          <ac:chgData name="Mohamed Ibissi" userId="90b6f8706c8cb808" providerId="LiveId" clId="{D4365AD1-7D00-42D7-8E47-6E306EC2F93A}" dt="2024-11-09T08:20:38.312" v="1370"/>
          <ac:picMkLst>
            <pc:docMk/>
            <pc:sldMk cId="206583747" sldId="2134806568"/>
            <ac:picMk id="5" creationId="{5EC3055B-B890-E709-6CDE-ADD456732CD2}"/>
          </ac:picMkLst>
        </pc:picChg>
      </pc:sldChg>
      <pc:sldChg chg="addSp delSp modSp del mod delAnim modAnim">
        <pc:chgData name="Mohamed Ibissi" userId="90b6f8706c8cb808" providerId="LiveId" clId="{D4365AD1-7D00-42D7-8E47-6E306EC2F93A}" dt="2024-11-11T17:13:11.807" v="2038" actId="47"/>
        <pc:sldMkLst>
          <pc:docMk/>
          <pc:sldMk cId="1015862555" sldId="2134806569"/>
        </pc:sldMkLst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5" creationId="{15C7D846-9F60-1223-0E41-522D3C3B6747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6" creationId="{CB386E54-C48B-1E61-D07E-1C796E802CB9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7" creationId="{F511D4EE-2CF2-7FAE-4D5F-3A1CC4F97663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8" creationId="{C4F28801-DBD3-14A3-3B35-0BE93E82B788}"/>
          </ac:spMkLst>
        </pc:spChg>
        <pc:spChg chg="add mod">
          <ac:chgData name="Mohamed Ibissi" userId="90b6f8706c8cb808" providerId="LiveId" clId="{D4365AD1-7D00-42D7-8E47-6E306EC2F93A}" dt="2024-11-09T08:21:12.412" v="1373"/>
          <ac:spMkLst>
            <pc:docMk/>
            <pc:sldMk cId="1015862555" sldId="2134806569"/>
            <ac:spMk id="9" creationId="{6CC568DA-BF9E-ADBE-5429-4E5139C8AED7}"/>
          </ac:spMkLst>
        </pc:spChg>
        <pc:spChg chg="add mod">
          <ac:chgData name="Mohamed Ibissi" userId="90b6f8706c8cb808" providerId="LiveId" clId="{D4365AD1-7D00-42D7-8E47-6E306EC2F93A}" dt="2024-11-09T08:21:12.412" v="1373"/>
          <ac:spMkLst>
            <pc:docMk/>
            <pc:sldMk cId="1015862555" sldId="2134806569"/>
            <ac:spMk id="10" creationId="{E4C89735-ED98-2CC6-4E8D-1E659C18B458}"/>
          </ac:spMkLst>
        </pc:spChg>
        <pc:spChg chg="add mod">
          <ac:chgData name="Mohamed Ibissi" userId="90b6f8706c8cb808" providerId="LiveId" clId="{D4365AD1-7D00-42D7-8E47-6E306EC2F93A}" dt="2024-11-09T08:21:12.412" v="1373"/>
          <ac:spMkLst>
            <pc:docMk/>
            <pc:sldMk cId="1015862555" sldId="2134806569"/>
            <ac:spMk id="11" creationId="{E9B6751C-EF4B-DC65-5FAD-98DC124A2EAA}"/>
          </ac:spMkLst>
        </pc:spChg>
        <pc:spChg chg="add mod">
          <ac:chgData name="Mohamed Ibissi" userId="90b6f8706c8cb808" providerId="LiveId" clId="{D4365AD1-7D00-42D7-8E47-6E306EC2F93A}" dt="2024-11-09T08:21:12.412" v="1373"/>
          <ac:spMkLst>
            <pc:docMk/>
            <pc:sldMk cId="1015862555" sldId="2134806569"/>
            <ac:spMk id="12" creationId="{996F7027-E2B3-A321-B087-AFA5FEA7613C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14" creationId="{5DE11BD6-4F71-7E46-3A11-F8CF8DCCE24D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16" creationId="{D9E2DAA0-2BFE-D21C-F13F-79F079EA0CC6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17" creationId="{D3FEA938-DA1E-00C0-1CC1-3A2F089485B5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18" creationId="{ED30E88A-C2EB-506D-8309-BBA17208662D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19" creationId="{8E7AE730-C8AA-E31D-7AA8-CFA9B2CDDB55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20" creationId="{FA5A5F47-496C-683F-B9B9-17F9A86603B4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21" creationId="{50BA324D-897E-CFBF-EBD3-2F573CAC7EC2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22" creationId="{B082086A-D459-79C3-574D-A32E6F3207BB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23" creationId="{64E9C0E0-EC1B-75C8-F1E2-32786EAC7D0D}"/>
          </ac:spMkLst>
        </pc:spChg>
        <pc:spChg chg="del">
          <ac:chgData name="Mohamed Ibissi" userId="90b6f8706c8cb808" providerId="LiveId" clId="{D4365AD1-7D00-42D7-8E47-6E306EC2F93A}" dt="2024-11-09T08:21:00.294" v="1372" actId="478"/>
          <ac:spMkLst>
            <pc:docMk/>
            <pc:sldMk cId="1015862555" sldId="2134806569"/>
            <ac:spMk id="24" creationId="{ED9DF1E2-69A4-312B-8D44-1ACCB439E042}"/>
          </ac:spMkLst>
        </pc:spChg>
        <pc:spChg chg="add mod">
          <ac:chgData name="Mohamed Ibissi" userId="90b6f8706c8cb808" providerId="LiveId" clId="{D4365AD1-7D00-42D7-8E47-6E306EC2F93A}" dt="2024-11-09T08:21:12.412" v="1373"/>
          <ac:spMkLst>
            <pc:docMk/>
            <pc:sldMk cId="1015862555" sldId="2134806569"/>
            <ac:spMk id="25" creationId="{0AEC50DE-700B-8203-6E5C-3F6549D40895}"/>
          </ac:spMkLst>
        </pc:spChg>
        <pc:graphicFrameChg chg="del">
          <ac:chgData name="Mohamed Ibissi" userId="90b6f8706c8cb808" providerId="LiveId" clId="{D4365AD1-7D00-42D7-8E47-6E306EC2F93A}" dt="2024-11-11T10:40:26.655" v="1919" actId="478"/>
          <ac:graphicFrameMkLst>
            <pc:docMk/>
            <pc:sldMk cId="1015862555" sldId="2134806569"/>
            <ac:graphicFrameMk id="3" creationId="{5065194F-6E4C-6CED-F7FF-0DF557976686}"/>
          </ac:graphicFrameMkLst>
        </pc:graphicFrameChg>
        <pc:picChg chg="add mod">
          <ac:chgData name="Mohamed Ibissi" userId="90b6f8706c8cb808" providerId="LiveId" clId="{D4365AD1-7D00-42D7-8E47-6E306EC2F93A}" dt="2024-11-09T08:21:12.412" v="1373"/>
          <ac:picMkLst>
            <pc:docMk/>
            <pc:sldMk cId="1015862555" sldId="2134806569"/>
            <ac:picMk id="2" creationId="{8E34028E-9E92-0B95-B27C-90E95629253F}"/>
          </ac:picMkLst>
        </pc:picChg>
        <pc:picChg chg="del">
          <ac:chgData name="Mohamed Ibissi" userId="90b6f8706c8cb808" providerId="LiveId" clId="{D4365AD1-7D00-42D7-8E47-6E306EC2F93A}" dt="2024-11-09T08:20:55.933" v="1371" actId="478"/>
          <ac:picMkLst>
            <pc:docMk/>
            <pc:sldMk cId="1015862555" sldId="2134806569"/>
            <ac:picMk id="4" creationId="{8DCF8A39-20ED-B3A7-B562-65B83547F8A1}"/>
          </ac:picMkLst>
        </pc:picChg>
        <pc:picChg chg="add mod ord">
          <ac:chgData name="Mohamed Ibissi" userId="90b6f8706c8cb808" providerId="LiveId" clId="{D4365AD1-7D00-42D7-8E47-6E306EC2F93A}" dt="2024-11-11T10:40:29.983" v="1921" actId="167"/>
          <ac:picMkLst>
            <pc:docMk/>
            <pc:sldMk cId="1015862555" sldId="2134806569"/>
            <ac:picMk id="4" creationId="{BB8CB4F4-4975-5DF7-9B83-D854F6866F1C}"/>
          </ac:picMkLst>
        </pc:picChg>
      </pc:sldChg>
      <pc:sldChg chg="addSp delSp modSp add mod">
        <pc:chgData name="Mohamed Ibissi" userId="90b6f8706c8cb808" providerId="LiveId" clId="{D4365AD1-7D00-42D7-8E47-6E306EC2F93A}" dt="2024-11-11T10:24:20.263" v="1649" actId="167"/>
        <pc:sldMkLst>
          <pc:docMk/>
          <pc:sldMk cId="3639806654" sldId="2134806570"/>
        </pc:sldMkLst>
        <pc:spChg chg="mod">
          <ac:chgData name="Mohamed Ibissi" userId="90b6f8706c8cb808" providerId="LiveId" clId="{D4365AD1-7D00-42D7-8E47-6E306EC2F93A}" dt="2024-11-09T05:13:34.503" v="62" actId="1035"/>
          <ac:spMkLst>
            <pc:docMk/>
            <pc:sldMk cId="3639806654" sldId="2134806570"/>
            <ac:spMk id="3" creationId="{FCCA8853-BF7D-82E3-B949-6D92483E118F}"/>
          </ac:spMkLst>
        </pc:spChg>
        <pc:graphicFrameChg chg="del">
          <ac:chgData name="Mohamed Ibissi" userId="90b6f8706c8cb808" providerId="LiveId" clId="{D4365AD1-7D00-42D7-8E47-6E306EC2F93A}" dt="2024-11-11T10:24:15.510" v="1647" actId="478"/>
          <ac:graphicFrameMkLst>
            <pc:docMk/>
            <pc:sldMk cId="3639806654" sldId="2134806570"/>
            <ac:graphicFrameMk id="4" creationId="{06001130-C84B-E05F-F46C-556C0E0ED0E4}"/>
          </ac:graphicFrameMkLst>
        </pc:graphicFrameChg>
        <pc:picChg chg="add mod ord">
          <ac:chgData name="Mohamed Ibissi" userId="90b6f8706c8cb808" providerId="LiveId" clId="{D4365AD1-7D00-42D7-8E47-6E306EC2F93A}" dt="2024-11-11T10:24:20.263" v="1649" actId="167"/>
          <ac:picMkLst>
            <pc:docMk/>
            <pc:sldMk cId="3639806654" sldId="2134806570"/>
            <ac:picMk id="2" creationId="{4C023605-AA2C-B822-6EB1-C36F2B9A9AB8}"/>
          </ac:picMkLst>
        </pc:picChg>
        <pc:picChg chg="del">
          <ac:chgData name="Mohamed Ibissi" userId="90b6f8706c8cb808" providerId="LiveId" clId="{D4365AD1-7D00-42D7-8E47-6E306EC2F93A}" dt="2024-11-09T05:12:51.859" v="45" actId="478"/>
          <ac:picMkLst>
            <pc:docMk/>
            <pc:sldMk cId="3639806654" sldId="2134806570"/>
            <ac:picMk id="2" creationId="{8BC6E0AC-9C15-12E9-CBBC-6DE5D0303F3D}"/>
          </ac:picMkLst>
        </pc:picChg>
        <pc:picChg chg="add mod">
          <ac:chgData name="Mohamed Ibissi" userId="90b6f8706c8cb808" providerId="LiveId" clId="{D4365AD1-7D00-42D7-8E47-6E306EC2F93A}" dt="2024-11-09T05:13:02.504" v="46"/>
          <ac:picMkLst>
            <pc:docMk/>
            <pc:sldMk cId="3639806654" sldId="2134806570"/>
            <ac:picMk id="5" creationId="{5A6F770A-DB07-7D2C-3BB2-41D838535BC6}"/>
          </ac:picMkLst>
        </pc:picChg>
      </pc:sldChg>
      <pc:sldChg chg="addSp delSp modSp add mod">
        <pc:chgData name="Mohamed Ibissi" userId="90b6f8706c8cb808" providerId="LiveId" clId="{D4365AD1-7D00-42D7-8E47-6E306EC2F93A}" dt="2024-11-11T10:24:53.564" v="1653" actId="1076"/>
        <pc:sldMkLst>
          <pc:docMk/>
          <pc:sldMk cId="1099202900" sldId="2134806571"/>
        </pc:sldMkLst>
        <pc:spChg chg="mod">
          <ac:chgData name="Mohamed Ibissi" userId="90b6f8706c8cb808" providerId="LiveId" clId="{D4365AD1-7D00-42D7-8E47-6E306EC2F93A}" dt="2024-11-09T05:14:21.016" v="92" actId="20577"/>
          <ac:spMkLst>
            <pc:docMk/>
            <pc:sldMk cId="1099202900" sldId="2134806571"/>
            <ac:spMk id="3" creationId="{08C516E1-1BDC-1003-8590-5891D20CAF0F}"/>
          </ac:spMkLst>
        </pc:spChg>
        <pc:spChg chg="add mod">
          <ac:chgData name="Mohamed Ibissi" userId="90b6f8706c8cb808" providerId="LiveId" clId="{D4365AD1-7D00-42D7-8E47-6E306EC2F93A}" dt="2024-11-09T05:14:42.271" v="94"/>
          <ac:spMkLst>
            <pc:docMk/>
            <pc:sldMk cId="1099202900" sldId="2134806571"/>
            <ac:spMk id="7" creationId="{50E1BD69-D5AD-D7B7-0695-672EE720C157}"/>
          </ac:spMkLst>
        </pc:spChg>
        <pc:graphicFrameChg chg="del">
          <ac:chgData name="Mohamed Ibissi" userId="90b6f8706c8cb808" providerId="LiveId" clId="{D4365AD1-7D00-42D7-8E47-6E306EC2F93A}" dt="2024-11-11T10:24:34.191" v="1650" actId="478"/>
          <ac:graphicFrameMkLst>
            <pc:docMk/>
            <pc:sldMk cId="1099202900" sldId="2134806571"/>
            <ac:graphicFrameMk id="4" creationId="{B52B626F-CE91-6CD9-1AFB-34911E5D9E74}"/>
          </ac:graphicFrameMkLst>
        </pc:graphicFrameChg>
        <pc:picChg chg="add mod">
          <ac:chgData name="Mohamed Ibissi" userId="90b6f8706c8cb808" providerId="LiveId" clId="{D4365AD1-7D00-42D7-8E47-6E306EC2F93A}" dt="2024-11-11T10:24:53.564" v="1653" actId="1076"/>
          <ac:picMkLst>
            <pc:docMk/>
            <pc:sldMk cId="1099202900" sldId="2134806571"/>
            <ac:picMk id="2" creationId="{8F50507C-9706-D661-81BD-090DC458791D}"/>
          </ac:picMkLst>
        </pc:picChg>
        <pc:picChg chg="del">
          <ac:chgData name="Mohamed Ibissi" userId="90b6f8706c8cb808" providerId="LiveId" clId="{D4365AD1-7D00-42D7-8E47-6E306EC2F93A}" dt="2024-11-09T05:13:49.127" v="64" actId="478"/>
          <ac:picMkLst>
            <pc:docMk/>
            <pc:sldMk cId="1099202900" sldId="2134806571"/>
            <ac:picMk id="5" creationId="{8279E9CF-FB6F-ABBE-5C4E-ACCA14DB0EC3}"/>
          </ac:picMkLst>
        </pc:picChg>
        <pc:picChg chg="add mod ord">
          <ac:chgData name="Mohamed Ibissi" userId="90b6f8706c8cb808" providerId="LiveId" clId="{D4365AD1-7D00-42D7-8E47-6E306EC2F93A}" dt="2024-11-11T10:24:44.387" v="1652" actId="167"/>
          <ac:picMkLst>
            <pc:docMk/>
            <pc:sldMk cId="1099202900" sldId="2134806571"/>
            <ac:picMk id="5" creationId="{DD455D1E-88C4-FE55-6BCC-5CAE53332BF5}"/>
          </ac:picMkLst>
        </pc:picChg>
        <pc:picChg chg="add mod">
          <ac:chgData name="Mohamed Ibissi" userId="90b6f8706c8cb808" providerId="LiveId" clId="{D4365AD1-7D00-42D7-8E47-6E306EC2F93A}" dt="2024-11-09T05:14:34.137" v="93"/>
          <ac:picMkLst>
            <pc:docMk/>
            <pc:sldMk cId="1099202900" sldId="2134806571"/>
            <ac:picMk id="6" creationId="{54545ED0-72E7-36E8-DD44-4F5F52654AAB}"/>
          </ac:picMkLst>
        </pc:picChg>
      </pc:sldChg>
      <pc:sldChg chg="addSp delSp modSp add mod">
        <pc:chgData name="Mohamed Ibissi" userId="90b6f8706c8cb808" providerId="LiveId" clId="{D4365AD1-7D00-42D7-8E47-6E306EC2F93A}" dt="2024-11-11T10:25:06.793" v="1656" actId="167"/>
        <pc:sldMkLst>
          <pc:docMk/>
          <pc:sldMk cId="1979342813" sldId="2134806572"/>
        </pc:sldMkLst>
        <pc:spChg chg="mod">
          <ac:chgData name="Mohamed Ibissi" userId="90b6f8706c8cb808" providerId="LiveId" clId="{D4365AD1-7D00-42D7-8E47-6E306EC2F93A}" dt="2024-11-09T05:17:50.698" v="116" actId="20577"/>
          <ac:spMkLst>
            <pc:docMk/>
            <pc:sldMk cId="1979342813" sldId="2134806572"/>
            <ac:spMk id="3" creationId="{EA694812-12E0-66B2-488B-9FEB9E1BFD55}"/>
          </ac:spMkLst>
        </pc:spChg>
        <pc:spChg chg="del">
          <ac:chgData name="Mohamed Ibissi" userId="90b6f8706c8cb808" providerId="LiveId" clId="{D4365AD1-7D00-42D7-8E47-6E306EC2F93A}" dt="2024-11-09T05:16:53.014" v="97" actId="478"/>
          <ac:spMkLst>
            <pc:docMk/>
            <pc:sldMk cId="1979342813" sldId="2134806572"/>
            <ac:spMk id="7" creationId="{115CFD5C-B994-56EB-25F1-9E99945A0639}"/>
          </ac:spMkLst>
        </pc:spChg>
        <pc:spChg chg="add mod">
          <ac:chgData name="Mohamed Ibissi" userId="90b6f8706c8cb808" providerId="LiveId" clId="{D4365AD1-7D00-42D7-8E47-6E306EC2F93A}" dt="2024-11-09T05:18:02.789" v="117"/>
          <ac:spMkLst>
            <pc:docMk/>
            <pc:sldMk cId="1979342813" sldId="2134806572"/>
            <ac:spMk id="10" creationId="{8E535FBD-4C0E-7BB1-FE1F-5DCC132E01FA}"/>
          </ac:spMkLst>
        </pc:spChg>
        <pc:spChg chg="add mod">
          <ac:chgData name="Mohamed Ibissi" userId="90b6f8706c8cb808" providerId="LiveId" clId="{D4365AD1-7D00-42D7-8E47-6E306EC2F93A}" dt="2024-11-09T05:18:02.789" v="117"/>
          <ac:spMkLst>
            <pc:docMk/>
            <pc:sldMk cId="1979342813" sldId="2134806572"/>
            <ac:spMk id="11" creationId="{22B27D4B-7C30-6409-10E4-47774B7A9065}"/>
          </ac:spMkLst>
        </pc:spChg>
        <pc:graphicFrameChg chg="del">
          <ac:chgData name="Mohamed Ibissi" userId="90b6f8706c8cb808" providerId="LiveId" clId="{D4365AD1-7D00-42D7-8E47-6E306EC2F93A}" dt="2024-11-11T10:25:02.743" v="1654" actId="478"/>
          <ac:graphicFrameMkLst>
            <pc:docMk/>
            <pc:sldMk cId="1979342813" sldId="2134806572"/>
            <ac:graphicFrameMk id="4" creationId="{5106FE19-AAEE-3ADE-E889-E0D60E3778B3}"/>
          </ac:graphicFrameMkLst>
        </pc:graphicFrameChg>
        <pc:picChg chg="del">
          <ac:chgData name="Mohamed Ibissi" userId="90b6f8706c8cb808" providerId="LiveId" clId="{D4365AD1-7D00-42D7-8E47-6E306EC2F93A}" dt="2024-11-09T05:16:54.983" v="98" actId="478"/>
          <ac:picMkLst>
            <pc:docMk/>
            <pc:sldMk cId="1979342813" sldId="2134806572"/>
            <ac:picMk id="2" creationId="{3D9D317B-8DAD-9542-0E6C-5FB8A8CB195E}"/>
          </ac:picMkLst>
        </pc:picChg>
        <pc:picChg chg="add mod ord">
          <ac:chgData name="Mohamed Ibissi" userId="90b6f8706c8cb808" providerId="LiveId" clId="{D4365AD1-7D00-42D7-8E47-6E306EC2F93A}" dt="2024-11-11T10:25:06.793" v="1656" actId="167"/>
          <ac:picMkLst>
            <pc:docMk/>
            <pc:sldMk cId="1979342813" sldId="2134806572"/>
            <ac:picMk id="2" creationId="{5BBAB107-411E-A50E-D523-F6322D796558}"/>
          </ac:picMkLst>
        </pc:picChg>
        <pc:picChg chg="add del mod">
          <ac:chgData name="Mohamed Ibissi" userId="90b6f8706c8cb808" providerId="LiveId" clId="{D4365AD1-7D00-42D7-8E47-6E306EC2F93A}" dt="2024-11-09T05:17:03.771" v="102" actId="21"/>
          <ac:picMkLst>
            <pc:docMk/>
            <pc:sldMk cId="1979342813" sldId="2134806572"/>
            <ac:picMk id="5" creationId="{B5822551-08AC-312A-96BB-D7EE7FE973ED}"/>
          </ac:picMkLst>
        </pc:picChg>
        <pc:picChg chg="del">
          <ac:chgData name="Mohamed Ibissi" userId="90b6f8706c8cb808" providerId="LiveId" clId="{D4365AD1-7D00-42D7-8E47-6E306EC2F93A}" dt="2024-11-09T05:16:51.294" v="96" actId="478"/>
          <ac:picMkLst>
            <pc:docMk/>
            <pc:sldMk cId="1979342813" sldId="2134806572"/>
            <ac:picMk id="6" creationId="{4EA498C2-7813-2568-D37C-D5B2F8FA9F32}"/>
          </ac:picMkLst>
        </pc:picChg>
        <pc:picChg chg="add mod">
          <ac:chgData name="Mohamed Ibissi" userId="90b6f8706c8cb808" providerId="LiveId" clId="{D4365AD1-7D00-42D7-8E47-6E306EC2F93A}" dt="2024-11-09T05:17:32.821" v="106" actId="1076"/>
          <ac:picMkLst>
            <pc:docMk/>
            <pc:sldMk cId="1979342813" sldId="2134806572"/>
            <ac:picMk id="9" creationId="{A53FB959-6B3D-30CB-1304-46D6BE8ED3A1}"/>
          </ac:picMkLst>
        </pc:picChg>
      </pc:sldChg>
      <pc:sldChg chg="addSp delSp modSp add mod">
        <pc:chgData name="Mohamed Ibissi" userId="90b6f8706c8cb808" providerId="LiveId" clId="{D4365AD1-7D00-42D7-8E47-6E306EC2F93A}" dt="2024-11-11T10:25:31.228" v="1661" actId="1036"/>
        <pc:sldMkLst>
          <pc:docMk/>
          <pc:sldMk cId="2394306758" sldId="2134806573"/>
        </pc:sldMkLst>
        <pc:spChg chg="add mod">
          <ac:chgData name="Mohamed Ibissi" userId="90b6f8706c8cb808" providerId="LiveId" clId="{D4365AD1-7D00-42D7-8E47-6E306EC2F93A}" dt="2024-11-09T05:18:43.061" v="120" actId="1076"/>
          <ac:spMkLst>
            <pc:docMk/>
            <pc:sldMk cId="2394306758" sldId="2134806573"/>
            <ac:spMk id="5" creationId="{68F0CFB8-CA1D-8BC2-F27B-C52FA64E6F67}"/>
          </ac:spMkLst>
        </pc:spChg>
        <pc:graphicFrameChg chg="del">
          <ac:chgData name="Mohamed Ibissi" userId="90b6f8706c8cb808" providerId="LiveId" clId="{D4365AD1-7D00-42D7-8E47-6E306EC2F93A}" dt="2024-11-11T10:25:19.848" v="1657" actId="478"/>
          <ac:graphicFrameMkLst>
            <pc:docMk/>
            <pc:sldMk cId="2394306758" sldId="2134806573"/>
            <ac:graphicFrameMk id="4" creationId="{171B148A-C357-401D-D2E8-590CFBC8D3BB}"/>
          </ac:graphicFrameMkLst>
        </pc:graphicFrameChg>
        <pc:picChg chg="mod">
          <ac:chgData name="Mohamed Ibissi" userId="90b6f8706c8cb808" providerId="LiveId" clId="{D4365AD1-7D00-42D7-8E47-6E306EC2F93A}" dt="2024-11-11T10:25:31.228" v="1661" actId="1036"/>
          <ac:picMkLst>
            <pc:docMk/>
            <pc:sldMk cId="2394306758" sldId="2134806573"/>
            <ac:picMk id="2" creationId="{146A374F-A715-AD3F-F42B-521E048DE80B}"/>
          </ac:picMkLst>
        </pc:picChg>
        <pc:picChg chg="add mod ord">
          <ac:chgData name="Mohamed Ibissi" userId="90b6f8706c8cb808" providerId="LiveId" clId="{D4365AD1-7D00-42D7-8E47-6E306EC2F93A}" dt="2024-11-11T10:25:23.724" v="1659" actId="167"/>
          <ac:picMkLst>
            <pc:docMk/>
            <pc:sldMk cId="2394306758" sldId="2134806573"/>
            <ac:picMk id="8" creationId="{1CCBB8A1-1E06-5A81-4984-9984F5DCA594}"/>
          </ac:picMkLst>
        </pc:picChg>
      </pc:sldChg>
      <pc:sldChg chg="addSp delSp modSp add mod replId">
        <pc:chgData name="Mohamed Ibissi" userId="90b6f8706c8cb808" providerId="LiveId" clId="{D4365AD1-7D00-42D7-8E47-6E306EC2F93A}" dt="2024-11-11T10:25:49.049" v="1664" actId="167"/>
        <pc:sldMkLst>
          <pc:docMk/>
          <pc:sldMk cId="1276312805" sldId="2134806574"/>
        </pc:sldMkLst>
        <pc:spChg chg="mod">
          <ac:chgData name="Mohamed Ibissi" userId="90b6f8706c8cb808" providerId="LiveId" clId="{D4365AD1-7D00-42D7-8E47-6E306EC2F93A}" dt="2024-11-09T05:19:28.148" v="128" actId="20577"/>
          <ac:spMkLst>
            <pc:docMk/>
            <pc:sldMk cId="1276312805" sldId="2134806574"/>
            <ac:spMk id="3" creationId="{FBED3685-9A57-C2EE-FE2B-25C0C3BAAEFB}"/>
          </ac:spMkLst>
        </pc:spChg>
        <pc:spChg chg="mod">
          <ac:chgData name="Mohamed Ibissi" userId="90b6f8706c8cb808" providerId="LiveId" clId="{D4365AD1-7D00-42D7-8E47-6E306EC2F93A}" dt="2024-11-09T05:18:53.678" v="121" actId="20577"/>
          <ac:spMkLst>
            <pc:docMk/>
            <pc:sldMk cId="1276312805" sldId="2134806574"/>
            <ac:spMk id="10" creationId="{DF8E7E08-CD7B-30A9-B1A7-7450632CDB82}"/>
          </ac:spMkLst>
        </pc:spChg>
        <pc:spChg chg="mod">
          <ac:chgData name="Mohamed Ibissi" userId="90b6f8706c8cb808" providerId="LiveId" clId="{D4365AD1-7D00-42D7-8E47-6E306EC2F93A}" dt="2024-11-09T05:19:03.671" v="122"/>
          <ac:spMkLst>
            <pc:docMk/>
            <pc:sldMk cId="1276312805" sldId="2134806574"/>
            <ac:spMk id="11" creationId="{74ECC2BD-7DFF-FE65-6353-CCE953205FC6}"/>
          </ac:spMkLst>
        </pc:spChg>
        <pc:graphicFrameChg chg="del">
          <ac:chgData name="Mohamed Ibissi" userId="90b6f8706c8cb808" providerId="LiveId" clId="{D4365AD1-7D00-42D7-8E47-6E306EC2F93A}" dt="2024-11-11T10:25:45.486" v="1662" actId="478"/>
          <ac:graphicFrameMkLst>
            <pc:docMk/>
            <pc:sldMk cId="1276312805" sldId="2134806574"/>
            <ac:graphicFrameMk id="4" creationId="{C5BD43E6-6A92-C1F6-0FFB-5012FB246A99}"/>
          </ac:graphicFrameMkLst>
        </pc:graphicFrameChg>
        <pc:picChg chg="add mod ord">
          <ac:chgData name="Mohamed Ibissi" userId="90b6f8706c8cb808" providerId="LiveId" clId="{D4365AD1-7D00-42D7-8E47-6E306EC2F93A}" dt="2024-11-11T10:25:49.049" v="1664" actId="167"/>
          <ac:picMkLst>
            <pc:docMk/>
            <pc:sldMk cId="1276312805" sldId="2134806574"/>
            <ac:picMk id="2" creationId="{E883858D-E9D7-98AC-A69C-901DC0AF86C4}"/>
          </ac:picMkLst>
        </pc:picChg>
      </pc:sldChg>
      <pc:sldChg chg="addSp delSp modSp add mod">
        <pc:chgData name="Mohamed Ibissi" userId="90b6f8706c8cb808" providerId="LiveId" clId="{D4365AD1-7D00-42D7-8E47-6E306EC2F93A}" dt="2024-11-11T10:26:06.746" v="1678" actId="1038"/>
        <pc:sldMkLst>
          <pc:docMk/>
          <pc:sldMk cId="4219088588" sldId="2134806575"/>
        </pc:sldMkLst>
        <pc:spChg chg="add mod">
          <ac:chgData name="Mohamed Ibissi" userId="90b6f8706c8cb808" providerId="LiveId" clId="{D4365AD1-7D00-42D7-8E47-6E306EC2F93A}" dt="2024-11-09T05:19:36.483" v="130" actId="1076"/>
          <ac:spMkLst>
            <pc:docMk/>
            <pc:sldMk cId="4219088588" sldId="2134806575"/>
            <ac:spMk id="8" creationId="{7F4FB02F-A34B-F319-2586-EAB727062B45}"/>
          </ac:spMkLst>
        </pc:spChg>
        <pc:graphicFrameChg chg="del modGraphic">
          <ac:chgData name="Mohamed Ibissi" userId="90b6f8706c8cb808" providerId="LiveId" clId="{D4365AD1-7D00-42D7-8E47-6E306EC2F93A}" dt="2024-11-11T10:25:57.738" v="1666" actId="478"/>
          <ac:graphicFrameMkLst>
            <pc:docMk/>
            <pc:sldMk cId="4219088588" sldId="2134806575"/>
            <ac:graphicFrameMk id="4" creationId="{39A2ADD7-8479-D38C-B416-3006F460903E}"/>
          </ac:graphicFrameMkLst>
        </pc:graphicFrameChg>
        <pc:picChg chg="mod">
          <ac:chgData name="Mohamed Ibissi" userId="90b6f8706c8cb808" providerId="LiveId" clId="{D4365AD1-7D00-42D7-8E47-6E306EC2F93A}" dt="2024-11-11T10:26:06.746" v="1678" actId="1038"/>
          <ac:picMkLst>
            <pc:docMk/>
            <pc:sldMk cId="4219088588" sldId="2134806575"/>
            <ac:picMk id="2" creationId="{C3F6C126-F317-A9B7-6E22-74A4AC217051}"/>
          </ac:picMkLst>
        </pc:picChg>
        <pc:picChg chg="add mod ord">
          <ac:chgData name="Mohamed Ibissi" userId="90b6f8706c8cb808" providerId="LiveId" clId="{D4365AD1-7D00-42D7-8E47-6E306EC2F93A}" dt="2024-11-11T10:26:00.818" v="1668" actId="167"/>
          <ac:picMkLst>
            <pc:docMk/>
            <pc:sldMk cId="4219088588" sldId="2134806575"/>
            <ac:picMk id="9" creationId="{72CD4953-DC99-4320-1DC2-227F6AF8F5ED}"/>
          </ac:picMkLst>
        </pc:picChg>
      </pc:sldChg>
      <pc:sldChg chg="addSp delSp modSp add mod replId">
        <pc:chgData name="Mohamed Ibissi" userId="90b6f8706c8cb808" providerId="LiveId" clId="{D4365AD1-7D00-42D7-8E47-6E306EC2F93A}" dt="2024-11-11T10:26:17.769" v="1681" actId="167"/>
        <pc:sldMkLst>
          <pc:docMk/>
          <pc:sldMk cId="2081825193" sldId="2134806576"/>
        </pc:sldMkLst>
        <pc:spChg chg="mod">
          <ac:chgData name="Mohamed Ibissi" userId="90b6f8706c8cb808" providerId="LiveId" clId="{D4365AD1-7D00-42D7-8E47-6E306EC2F93A}" dt="2024-11-09T05:19:49.370" v="136" actId="20577"/>
          <ac:spMkLst>
            <pc:docMk/>
            <pc:sldMk cId="2081825193" sldId="2134806576"/>
            <ac:spMk id="3" creationId="{5AB0C7B1-669F-0F4C-3DAC-48F7F02954B0}"/>
          </ac:spMkLst>
        </pc:spChg>
        <pc:spChg chg="mod">
          <ac:chgData name="Mohamed Ibissi" userId="90b6f8706c8cb808" providerId="LiveId" clId="{D4365AD1-7D00-42D7-8E47-6E306EC2F93A}" dt="2024-11-09T05:19:44.676" v="131" actId="20577"/>
          <ac:spMkLst>
            <pc:docMk/>
            <pc:sldMk cId="2081825193" sldId="2134806576"/>
            <ac:spMk id="10" creationId="{CD88BB14-2EC9-7C00-FF63-1863EAE0E36B}"/>
          </ac:spMkLst>
        </pc:spChg>
        <pc:spChg chg="mod">
          <ac:chgData name="Mohamed Ibissi" userId="90b6f8706c8cb808" providerId="LiveId" clId="{D4365AD1-7D00-42D7-8E47-6E306EC2F93A}" dt="2024-11-09T05:20:10.440" v="144" actId="20577"/>
          <ac:spMkLst>
            <pc:docMk/>
            <pc:sldMk cId="2081825193" sldId="2134806576"/>
            <ac:spMk id="11" creationId="{8DC91327-9BC8-8802-8AC3-230ACF9F0704}"/>
          </ac:spMkLst>
        </pc:spChg>
        <pc:graphicFrameChg chg="del">
          <ac:chgData name="Mohamed Ibissi" userId="90b6f8706c8cb808" providerId="LiveId" clId="{D4365AD1-7D00-42D7-8E47-6E306EC2F93A}" dt="2024-11-11T10:26:13.487" v="1679" actId="478"/>
          <ac:graphicFrameMkLst>
            <pc:docMk/>
            <pc:sldMk cId="2081825193" sldId="2134806576"/>
            <ac:graphicFrameMk id="4" creationId="{B86E5707-7866-9082-6F06-865C25943BC5}"/>
          </ac:graphicFrameMkLst>
        </pc:graphicFrameChg>
        <pc:picChg chg="add mod ord">
          <ac:chgData name="Mohamed Ibissi" userId="90b6f8706c8cb808" providerId="LiveId" clId="{D4365AD1-7D00-42D7-8E47-6E306EC2F93A}" dt="2024-11-11T10:26:17.769" v="1681" actId="167"/>
          <ac:picMkLst>
            <pc:docMk/>
            <pc:sldMk cId="2081825193" sldId="2134806576"/>
            <ac:picMk id="2" creationId="{02CDD4F0-9B0E-AE00-B6F0-7C930C9468D7}"/>
          </ac:picMkLst>
        </pc:picChg>
      </pc:sldChg>
      <pc:sldChg chg="addSp delSp modSp add mod">
        <pc:chgData name="Mohamed Ibissi" userId="90b6f8706c8cb808" providerId="LiveId" clId="{D4365AD1-7D00-42D7-8E47-6E306EC2F93A}" dt="2024-11-11T10:26:32.140" v="1696" actId="1038"/>
        <pc:sldMkLst>
          <pc:docMk/>
          <pc:sldMk cId="1044268184" sldId="2134806577"/>
        </pc:sldMkLst>
        <pc:spChg chg="add mod">
          <ac:chgData name="Mohamed Ibissi" userId="90b6f8706c8cb808" providerId="LiveId" clId="{D4365AD1-7D00-42D7-8E47-6E306EC2F93A}" dt="2024-11-09T05:20:43.670" v="147" actId="1076"/>
          <ac:spMkLst>
            <pc:docMk/>
            <pc:sldMk cId="1044268184" sldId="2134806577"/>
            <ac:spMk id="9" creationId="{190E1420-DC9C-BC1A-6FC5-F1C8BFF5A4D1}"/>
          </ac:spMkLst>
        </pc:spChg>
        <pc:graphicFrameChg chg="del">
          <ac:chgData name="Mohamed Ibissi" userId="90b6f8706c8cb808" providerId="LiveId" clId="{D4365AD1-7D00-42D7-8E47-6E306EC2F93A}" dt="2024-11-11T10:26:24.413" v="1682" actId="478"/>
          <ac:graphicFrameMkLst>
            <pc:docMk/>
            <pc:sldMk cId="1044268184" sldId="2134806577"/>
            <ac:graphicFrameMk id="4" creationId="{0B1EC41C-DF2E-916B-08DC-64B1D7AB17AC}"/>
          </ac:graphicFrameMkLst>
        </pc:graphicFrameChg>
        <pc:picChg chg="mod">
          <ac:chgData name="Mohamed Ibissi" userId="90b6f8706c8cb808" providerId="LiveId" clId="{D4365AD1-7D00-42D7-8E47-6E306EC2F93A}" dt="2024-11-11T10:26:32.140" v="1696" actId="1038"/>
          <ac:picMkLst>
            <pc:docMk/>
            <pc:sldMk cId="1044268184" sldId="2134806577"/>
            <ac:picMk id="2" creationId="{9CF41F71-1EC1-82CB-A5C6-B6E64FBC7DBC}"/>
          </ac:picMkLst>
        </pc:picChg>
        <pc:picChg chg="add mod ord">
          <ac:chgData name="Mohamed Ibissi" userId="90b6f8706c8cb808" providerId="LiveId" clId="{D4365AD1-7D00-42D7-8E47-6E306EC2F93A}" dt="2024-11-11T10:26:27.823" v="1684" actId="167"/>
          <ac:picMkLst>
            <pc:docMk/>
            <pc:sldMk cId="1044268184" sldId="2134806577"/>
            <ac:picMk id="10" creationId="{170663E4-607A-3F46-B32B-7A4F6FA3ECF2}"/>
          </ac:picMkLst>
        </pc:picChg>
      </pc:sldChg>
      <pc:sldChg chg="addSp delSp modSp add mod replId">
        <pc:chgData name="Mohamed Ibissi" userId="90b6f8706c8cb808" providerId="LiveId" clId="{D4365AD1-7D00-42D7-8E47-6E306EC2F93A}" dt="2024-11-11T10:26:43.726" v="1699" actId="167"/>
        <pc:sldMkLst>
          <pc:docMk/>
          <pc:sldMk cId="2374140453" sldId="2134806578"/>
        </pc:sldMkLst>
        <pc:spChg chg="mod">
          <ac:chgData name="Mohamed Ibissi" userId="90b6f8706c8cb808" providerId="LiveId" clId="{D4365AD1-7D00-42D7-8E47-6E306EC2F93A}" dt="2024-11-09T05:20:53.223" v="153" actId="20577"/>
          <ac:spMkLst>
            <pc:docMk/>
            <pc:sldMk cId="2374140453" sldId="2134806578"/>
            <ac:spMk id="3" creationId="{815F860E-0BF7-6C43-7934-F2642FC6CAFC}"/>
          </ac:spMkLst>
        </pc:spChg>
        <pc:spChg chg="mod">
          <ac:chgData name="Mohamed Ibissi" userId="90b6f8706c8cb808" providerId="LiveId" clId="{D4365AD1-7D00-42D7-8E47-6E306EC2F93A}" dt="2024-11-09T05:20:48.532" v="148" actId="20577"/>
          <ac:spMkLst>
            <pc:docMk/>
            <pc:sldMk cId="2374140453" sldId="2134806578"/>
            <ac:spMk id="10" creationId="{C6B5E515-5DE2-C311-82C7-65FBA9B5B2D2}"/>
          </ac:spMkLst>
        </pc:spChg>
        <pc:spChg chg="mod">
          <ac:chgData name="Mohamed Ibissi" userId="90b6f8706c8cb808" providerId="LiveId" clId="{D4365AD1-7D00-42D7-8E47-6E306EC2F93A}" dt="2024-11-09T05:21:05.919" v="163" actId="20577"/>
          <ac:spMkLst>
            <pc:docMk/>
            <pc:sldMk cId="2374140453" sldId="2134806578"/>
            <ac:spMk id="11" creationId="{4737D7A6-C2B6-8AD4-6D37-04A5D69C363C}"/>
          </ac:spMkLst>
        </pc:spChg>
        <pc:graphicFrameChg chg="del">
          <ac:chgData name="Mohamed Ibissi" userId="90b6f8706c8cb808" providerId="LiveId" clId="{D4365AD1-7D00-42D7-8E47-6E306EC2F93A}" dt="2024-11-11T10:26:40.318" v="1697" actId="478"/>
          <ac:graphicFrameMkLst>
            <pc:docMk/>
            <pc:sldMk cId="2374140453" sldId="2134806578"/>
            <ac:graphicFrameMk id="4" creationId="{41C824B1-205F-6D3B-D113-D542B4C7A7DB}"/>
          </ac:graphicFrameMkLst>
        </pc:graphicFrameChg>
        <pc:picChg chg="add mod ord">
          <ac:chgData name="Mohamed Ibissi" userId="90b6f8706c8cb808" providerId="LiveId" clId="{D4365AD1-7D00-42D7-8E47-6E306EC2F93A}" dt="2024-11-11T10:26:43.726" v="1699" actId="167"/>
          <ac:picMkLst>
            <pc:docMk/>
            <pc:sldMk cId="2374140453" sldId="2134806578"/>
            <ac:picMk id="2" creationId="{2CADB9CC-FC10-28C7-E320-8DD46E2006F7}"/>
          </ac:picMkLst>
        </pc:picChg>
      </pc:sldChg>
      <pc:sldChg chg="addSp delSp modSp add mod">
        <pc:chgData name="Mohamed Ibissi" userId="90b6f8706c8cb808" providerId="LiveId" clId="{D4365AD1-7D00-42D7-8E47-6E306EC2F93A}" dt="2024-11-11T10:26:59.253" v="1714" actId="1038"/>
        <pc:sldMkLst>
          <pc:docMk/>
          <pc:sldMk cId="1799374052" sldId="2134806579"/>
        </pc:sldMkLst>
        <pc:spChg chg="add mod">
          <ac:chgData name="Mohamed Ibissi" userId="90b6f8706c8cb808" providerId="LiveId" clId="{D4365AD1-7D00-42D7-8E47-6E306EC2F93A}" dt="2024-11-09T05:21:24.477" v="166" actId="1076"/>
          <ac:spMkLst>
            <pc:docMk/>
            <pc:sldMk cId="1799374052" sldId="2134806579"/>
            <ac:spMk id="10" creationId="{CFB0E0E9-87E5-DDBF-9DFD-163FC53D784F}"/>
          </ac:spMkLst>
        </pc:spChg>
        <pc:graphicFrameChg chg="del">
          <ac:chgData name="Mohamed Ibissi" userId="90b6f8706c8cb808" providerId="LiveId" clId="{D4365AD1-7D00-42D7-8E47-6E306EC2F93A}" dt="2024-11-11T10:26:50.701" v="1700" actId="478"/>
          <ac:graphicFrameMkLst>
            <pc:docMk/>
            <pc:sldMk cId="1799374052" sldId="2134806579"/>
            <ac:graphicFrameMk id="4" creationId="{76B30502-F8BD-A832-1706-9D641569DAE4}"/>
          </ac:graphicFrameMkLst>
        </pc:graphicFrameChg>
        <pc:picChg chg="mod">
          <ac:chgData name="Mohamed Ibissi" userId="90b6f8706c8cb808" providerId="LiveId" clId="{D4365AD1-7D00-42D7-8E47-6E306EC2F93A}" dt="2024-11-11T10:26:59.253" v="1714" actId="1038"/>
          <ac:picMkLst>
            <pc:docMk/>
            <pc:sldMk cId="1799374052" sldId="2134806579"/>
            <ac:picMk id="2" creationId="{A8784008-202F-ADDD-5C34-267A0A65B070}"/>
          </ac:picMkLst>
        </pc:picChg>
        <pc:picChg chg="add mod ord">
          <ac:chgData name="Mohamed Ibissi" userId="90b6f8706c8cb808" providerId="LiveId" clId="{D4365AD1-7D00-42D7-8E47-6E306EC2F93A}" dt="2024-11-11T10:26:55.625" v="1702" actId="167"/>
          <ac:picMkLst>
            <pc:docMk/>
            <pc:sldMk cId="1799374052" sldId="2134806579"/>
            <ac:picMk id="11" creationId="{0851353B-BC1D-EDB4-DAE8-3DA7D6BC570B}"/>
          </ac:picMkLst>
        </pc:picChg>
      </pc:sldChg>
      <pc:sldChg chg="addSp delSp modSp add mod replId">
        <pc:chgData name="Mohamed Ibissi" userId="90b6f8706c8cb808" providerId="LiveId" clId="{D4365AD1-7D00-42D7-8E47-6E306EC2F93A}" dt="2024-11-11T10:27:11.664" v="1717" actId="167"/>
        <pc:sldMkLst>
          <pc:docMk/>
          <pc:sldMk cId="105572011" sldId="2134806580"/>
        </pc:sldMkLst>
        <pc:spChg chg="mod">
          <ac:chgData name="Mohamed Ibissi" userId="90b6f8706c8cb808" providerId="LiveId" clId="{D4365AD1-7D00-42D7-8E47-6E306EC2F93A}" dt="2024-11-09T05:21:46.884" v="179" actId="20577"/>
          <ac:spMkLst>
            <pc:docMk/>
            <pc:sldMk cId="105572011" sldId="2134806580"/>
            <ac:spMk id="3" creationId="{6BD3CCC4-44D9-411D-1224-03CBB29CB743}"/>
          </ac:spMkLst>
        </pc:spChg>
        <pc:spChg chg="mod">
          <ac:chgData name="Mohamed Ibissi" userId="90b6f8706c8cb808" providerId="LiveId" clId="{D4365AD1-7D00-42D7-8E47-6E306EC2F93A}" dt="2024-11-09T05:21:32.215" v="167" actId="20577"/>
          <ac:spMkLst>
            <pc:docMk/>
            <pc:sldMk cId="105572011" sldId="2134806580"/>
            <ac:spMk id="10" creationId="{8CEEB87A-02EB-46C8-8934-694C1795B4A3}"/>
          </ac:spMkLst>
        </pc:spChg>
        <pc:spChg chg="mod">
          <ac:chgData name="Mohamed Ibissi" userId="90b6f8706c8cb808" providerId="LiveId" clId="{D4365AD1-7D00-42D7-8E47-6E306EC2F93A}" dt="2024-11-09T05:21:42.052" v="175" actId="20577"/>
          <ac:spMkLst>
            <pc:docMk/>
            <pc:sldMk cId="105572011" sldId="2134806580"/>
            <ac:spMk id="11" creationId="{B2A35374-874E-3BC5-3125-044EDF36D90B}"/>
          </ac:spMkLst>
        </pc:spChg>
        <pc:graphicFrameChg chg="del">
          <ac:chgData name="Mohamed Ibissi" userId="90b6f8706c8cb808" providerId="LiveId" clId="{D4365AD1-7D00-42D7-8E47-6E306EC2F93A}" dt="2024-11-11T10:27:08.334" v="1715" actId="478"/>
          <ac:graphicFrameMkLst>
            <pc:docMk/>
            <pc:sldMk cId="105572011" sldId="2134806580"/>
            <ac:graphicFrameMk id="4" creationId="{4CB321D1-545E-24CC-4122-1B73671E1FF7}"/>
          </ac:graphicFrameMkLst>
        </pc:graphicFrameChg>
        <pc:picChg chg="add mod ord">
          <ac:chgData name="Mohamed Ibissi" userId="90b6f8706c8cb808" providerId="LiveId" clId="{D4365AD1-7D00-42D7-8E47-6E306EC2F93A}" dt="2024-11-11T10:27:11.664" v="1717" actId="167"/>
          <ac:picMkLst>
            <pc:docMk/>
            <pc:sldMk cId="105572011" sldId="2134806580"/>
            <ac:picMk id="2" creationId="{57F6C47F-BF69-9217-B48A-934F4321F92E}"/>
          </ac:picMkLst>
        </pc:picChg>
      </pc:sldChg>
      <pc:sldChg chg="addSp delSp modSp add mod modAnim">
        <pc:chgData name="Mohamed Ibissi" userId="90b6f8706c8cb808" providerId="LiveId" clId="{D4365AD1-7D00-42D7-8E47-6E306EC2F93A}" dt="2024-11-11T10:28:35.104" v="1729" actId="167"/>
        <pc:sldMkLst>
          <pc:docMk/>
          <pc:sldMk cId="1002351891" sldId="2134806581"/>
        </pc:sldMkLst>
        <pc:spChg chg="mod">
          <ac:chgData name="Mohamed Ibissi" userId="90b6f8706c8cb808" providerId="LiveId" clId="{D4365AD1-7D00-42D7-8E47-6E306EC2F93A}" dt="2024-11-10T21:43:21.464" v="1502" actId="20577"/>
          <ac:spMkLst>
            <pc:docMk/>
            <pc:sldMk cId="1002351891" sldId="2134806581"/>
            <ac:spMk id="6" creationId="{B1B50ABE-970F-C628-E5E3-226FBE2F65E3}"/>
          </ac:spMkLst>
        </pc:spChg>
        <pc:spChg chg="add mod">
          <ac:chgData name="Mohamed Ibissi" userId="90b6f8706c8cb808" providerId="LiveId" clId="{D4365AD1-7D00-42D7-8E47-6E306EC2F93A}" dt="2024-11-09T05:32:01.243" v="304"/>
          <ac:spMkLst>
            <pc:docMk/>
            <pc:sldMk cId="1002351891" sldId="2134806581"/>
            <ac:spMk id="9" creationId="{E5FE4F8E-ABF1-889C-CB4C-2F7B9B8CABBE}"/>
          </ac:spMkLst>
        </pc:spChg>
        <pc:spChg chg="add mod">
          <ac:chgData name="Mohamed Ibissi" userId="90b6f8706c8cb808" providerId="LiveId" clId="{D4365AD1-7D00-42D7-8E47-6E306EC2F93A}" dt="2024-11-09T08:39:06.933" v="1431" actId="1037"/>
          <ac:spMkLst>
            <pc:docMk/>
            <pc:sldMk cId="1002351891" sldId="2134806581"/>
            <ac:spMk id="10" creationId="{F4AE635A-C9F9-A030-1675-6EAEBF00500E}"/>
          </ac:spMkLst>
        </pc:spChg>
        <pc:spChg chg="del">
          <ac:chgData name="Mohamed Ibissi" userId="90b6f8706c8cb808" providerId="LiveId" clId="{D4365AD1-7D00-42D7-8E47-6E306EC2F93A}" dt="2024-11-09T05:31:41.777" v="303" actId="478"/>
          <ac:spMkLst>
            <pc:docMk/>
            <pc:sldMk cId="1002351891" sldId="2134806581"/>
            <ac:spMk id="11" creationId="{ED149F17-3850-8DC4-CCEA-13004AD6A972}"/>
          </ac:spMkLst>
        </pc:spChg>
        <pc:graphicFrameChg chg="del">
          <ac:chgData name="Mohamed Ibissi" userId="90b6f8706c8cb808" providerId="LiveId" clId="{D4365AD1-7D00-42D7-8E47-6E306EC2F93A}" dt="2024-11-11T10:28:31.321" v="1727" actId="478"/>
          <ac:graphicFrameMkLst>
            <pc:docMk/>
            <pc:sldMk cId="1002351891" sldId="2134806581"/>
            <ac:graphicFrameMk id="5" creationId="{1DEFEF46-2AFB-1F51-0731-A285D3835572}"/>
          </ac:graphicFrameMkLst>
        </pc:graphicFrameChg>
        <pc:picChg chg="del">
          <ac:chgData name="Mohamed Ibissi" userId="90b6f8706c8cb808" providerId="LiveId" clId="{D4365AD1-7D00-42D7-8E47-6E306EC2F93A}" dt="2024-11-09T05:31:38.040" v="302" actId="478"/>
          <ac:picMkLst>
            <pc:docMk/>
            <pc:sldMk cId="1002351891" sldId="2134806581"/>
            <ac:picMk id="4" creationId="{7C174B40-AE66-C2BA-2D82-9C4CBB2CF3EF}"/>
          </ac:picMkLst>
        </pc:picChg>
        <pc:picChg chg="add mod ord">
          <ac:chgData name="Mohamed Ibissi" userId="90b6f8706c8cb808" providerId="LiveId" clId="{D4365AD1-7D00-42D7-8E47-6E306EC2F93A}" dt="2024-11-11T10:28:35.104" v="1729" actId="167"/>
          <ac:picMkLst>
            <pc:docMk/>
            <pc:sldMk cId="1002351891" sldId="2134806581"/>
            <ac:picMk id="4" creationId="{9FA4A4F5-B86D-1823-FC17-10333C50AD27}"/>
          </ac:picMkLst>
        </pc:picChg>
        <pc:picChg chg="add mod">
          <ac:chgData name="Mohamed Ibissi" userId="90b6f8706c8cb808" providerId="LiveId" clId="{D4365AD1-7D00-42D7-8E47-6E306EC2F93A}" dt="2024-11-09T05:32:01.243" v="304"/>
          <ac:picMkLst>
            <pc:docMk/>
            <pc:sldMk cId="1002351891" sldId="2134806581"/>
            <ac:picMk id="8" creationId="{629DEBCA-E5D9-B164-7A4B-7A0944F86797}"/>
          </ac:picMkLst>
        </pc:picChg>
      </pc:sldChg>
      <pc:sldChg chg="addSp delSp modSp add mod modAnim">
        <pc:chgData name="Mohamed Ibissi" userId="90b6f8706c8cb808" providerId="LiveId" clId="{D4365AD1-7D00-42D7-8E47-6E306EC2F93A}" dt="2024-11-11T10:28:44.061" v="1732" actId="167"/>
        <pc:sldMkLst>
          <pc:docMk/>
          <pc:sldMk cId="860299039" sldId="2134806582"/>
        </pc:sldMkLst>
        <pc:spChg chg="add mod">
          <ac:chgData name="Mohamed Ibissi" userId="90b6f8706c8cb808" providerId="LiveId" clId="{D4365AD1-7D00-42D7-8E47-6E306EC2F93A}" dt="2024-11-09T08:38:47.644" v="1415" actId="1076"/>
          <ac:spMkLst>
            <pc:docMk/>
            <pc:sldMk cId="860299039" sldId="2134806582"/>
            <ac:spMk id="4" creationId="{0633A7A2-C6C4-8418-27AD-F2DD4858456B}"/>
          </ac:spMkLst>
        </pc:spChg>
        <pc:spChg chg="mod">
          <ac:chgData name="Mohamed Ibissi" userId="90b6f8706c8cb808" providerId="LiveId" clId="{D4365AD1-7D00-42D7-8E47-6E306EC2F93A}" dt="2024-11-09T05:33:37.659" v="309"/>
          <ac:spMkLst>
            <pc:docMk/>
            <pc:sldMk cId="860299039" sldId="2134806582"/>
            <ac:spMk id="6" creationId="{AED90451-2815-BC9C-4D87-D0C0FD322872}"/>
          </ac:spMkLst>
        </pc:spChg>
        <pc:spChg chg="mod">
          <ac:chgData name="Mohamed Ibissi" userId="90b6f8706c8cb808" providerId="LiveId" clId="{D4365AD1-7D00-42D7-8E47-6E306EC2F93A}" dt="2024-11-09T08:38:57.163" v="1428" actId="1036"/>
          <ac:spMkLst>
            <pc:docMk/>
            <pc:sldMk cId="860299039" sldId="2134806582"/>
            <ac:spMk id="10" creationId="{D27A0347-F0BB-E416-4310-6BAC93BE93E4}"/>
          </ac:spMkLst>
        </pc:spChg>
        <pc:graphicFrameChg chg="del">
          <ac:chgData name="Mohamed Ibissi" userId="90b6f8706c8cb808" providerId="LiveId" clId="{D4365AD1-7D00-42D7-8E47-6E306EC2F93A}" dt="2024-11-11T10:28:40.888" v="1730" actId="478"/>
          <ac:graphicFrameMkLst>
            <pc:docMk/>
            <pc:sldMk cId="860299039" sldId="2134806582"/>
            <ac:graphicFrameMk id="5" creationId="{DD04BBEC-6048-8F36-BF2F-B99705EB96F1}"/>
          </ac:graphicFrameMkLst>
        </pc:graphicFrameChg>
        <pc:picChg chg="add mod ord">
          <ac:chgData name="Mohamed Ibissi" userId="90b6f8706c8cb808" providerId="LiveId" clId="{D4365AD1-7D00-42D7-8E47-6E306EC2F93A}" dt="2024-11-11T10:28:44.061" v="1732" actId="167"/>
          <ac:picMkLst>
            <pc:docMk/>
            <pc:sldMk cId="860299039" sldId="2134806582"/>
            <ac:picMk id="11" creationId="{EA83B05B-002E-7427-3122-64CFE3B0795C}"/>
          </ac:picMkLst>
        </pc:picChg>
      </pc:sldChg>
      <pc:sldChg chg="addSp delSp modSp add mod modAnim">
        <pc:chgData name="Mohamed Ibissi" userId="90b6f8706c8cb808" providerId="LiveId" clId="{D4365AD1-7D00-42D7-8E47-6E306EC2F93A}" dt="2024-11-11T17:08:06.597" v="2024" actId="1076"/>
        <pc:sldMkLst>
          <pc:docMk/>
          <pc:sldMk cId="3525069982" sldId="2134806583"/>
        </pc:sldMkLst>
        <pc:spChg chg="mod">
          <ac:chgData name="Mohamed Ibissi" userId="90b6f8706c8cb808" providerId="LiveId" clId="{D4365AD1-7D00-42D7-8E47-6E306EC2F93A}" dt="2024-11-09T08:39:38.616" v="1436" actId="1076"/>
          <ac:spMkLst>
            <pc:docMk/>
            <pc:sldMk cId="3525069982" sldId="2134806583"/>
            <ac:spMk id="4" creationId="{16066FF4-6776-77BB-F8BD-1693A4D6B97A}"/>
          </ac:spMkLst>
        </pc:spChg>
        <pc:spChg chg="mod">
          <ac:chgData name="Mohamed Ibissi" userId="90b6f8706c8cb808" providerId="LiveId" clId="{D4365AD1-7D00-42D7-8E47-6E306EC2F93A}" dt="2024-11-11T17:08:06.597" v="2024" actId="1076"/>
          <ac:spMkLst>
            <pc:docMk/>
            <pc:sldMk cId="3525069982" sldId="2134806583"/>
            <ac:spMk id="6" creationId="{E84E2043-5643-1A39-FBAA-F7DB4D3FE650}"/>
          </ac:spMkLst>
        </pc:spChg>
        <pc:spChg chg="mod">
          <ac:chgData name="Mohamed Ibissi" userId="90b6f8706c8cb808" providerId="LiveId" clId="{D4365AD1-7D00-42D7-8E47-6E306EC2F93A}" dt="2024-11-09T08:39:29.833" v="1433" actId="1076"/>
          <ac:spMkLst>
            <pc:docMk/>
            <pc:sldMk cId="3525069982" sldId="2134806583"/>
            <ac:spMk id="10" creationId="{86992C40-697A-8555-C05C-8C3565F4FD74}"/>
          </ac:spMkLst>
        </pc:spChg>
        <pc:graphicFrameChg chg="del">
          <ac:chgData name="Mohamed Ibissi" userId="90b6f8706c8cb808" providerId="LiveId" clId="{D4365AD1-7D00-42D7-8E47-6E306EC2F93A}" dt="2024-11-11T10:28:50.534" v="1733" actId="478"/>
          <ac:graphicFrameMkLst>
            <pc:docMk/>
            <pc:sldMk cId="3525069982" sldId="2134806583"/>
            <ac:graphicFrameMk id="5" creationId="{D906EE75-DA43-0628-726A-52973C7EC05E}"/>
          </ac:graphicFrameMkLst>
        </pc:graphicFrameChg>
        <pc:picChg chg="mod">
          <ac:chgData name="Mohamed Ibissi" userId="90b6f8706c8cb808" providerId="LiveId" clId="{D4365AD1-7D00-42D7-8E47-6E306EC2F93A}" dt="2024-11-09T08:39:34.615" v="1435" actId="1076"/>
          <ac:picMkLst>
            <pc:docMk/>
            <pc:sldMk cId="3525069982" sldId="2134806583"/>
            <ac:picMk id="8" creationId="{4E798D7B-0912-112D-44A4-1C0072106B53}"/>
          </ac:picMkLst>
        </pc:picChg>
        <pc:picChg chg="add mod ord">
          <ac:chgData name="Mohamed Ibissi" userId="90b6f8706c8cb808" providerId="LiveId" clId="{D4365AD1-7D00-42D7-8E47-6E306EC2F93A}" dt="2024-11-11T10:28:53.678" v="1735" actId="167"/>
          <ac:picMkLst>
            <pc:docMk/>
            <pc:sldMk cId="3525069982" sldId="2134806583"/>
            <ac:picMk id="11" creationId="{0F0BBB14-119F-D4AE-6750-0EBB0EE9CD04}"/>
          </ac:picMkLst>
        </pc:picChg>
      </pc:sldChg>
      <pc:sldChg chg="addSp delSp modSp add mod">
        <pc:chgData name="Mohamed Ibissi" userId="90b6f8706c8cb808" providerId="LiveId" clId="{D4365AD1-7D00-42D7-8E47-6E306EC2F93A}" dt="2024-11-11T10:29:27.978" v="1747" actId="167"/>
        <pc:sldMkLst>
          <pc:docMk/>
          <pc:sldMk cId="349985760" sldId="2134806584"/>
        </pc:sldMkLst>
        <pc:spChg chg="mod">
          <ac:chgData name="Mohamed Ibissi" userId="90b6f8706c8cb808" providerId="LiveId" clId="{D4365AD1-7D00-42D7-8E47-6E306EC2F93A}" dt="2024-11-09T05:58:26.896" v="424" actId="20577"/>
          <ac:spMkLst>
            <pc:docMk/>
            <pc:sldMk cId="349985760" sldId="2134806584"/>
            <ac:spMk id="2" creationId="{86F6FBDA-D3E0-DBFD-D570-4840B8ECB796}"/>
          </ac:spMkLst>
        </pc:spChg>
        <pc:spChg chg="add mod">
          <ac:chgData name="Mohamed Ibissi" userId="90b6f8706c8cb808" providerId="LiveId" clId="{D4365AD1-7D00-42D7-8E47-6E306EC2F93A}" dt="2024-11-09T05:57:38.665" v="420" actId="1076"/>
          <ac:spMkLst>
            <pc:docMk/>
            <pc:sldMk cId="349985760" sldId="2134806584"/>
            <ac:spMk id="3" creationId="{29CE1D6C-D3EB-0217-FC97-AB4A9BDE1E92}"/>
          </ac:spMkLst>
        </pc:spChg>
        <pc:spChg chg="mod">
          <ac:chgData name="Mohamed Ibissi" userId="90b6f8706c8cb808" providerId="LiveId" clId="{D4365AD1-7D00-42D7-8E47-6E306EC2F93A}" dt="2024-11-09T05:57:26.031" v="418" actId="14100"/>
          <ac:spMkLst>
            <pc:docMk/>
            <pc:sldMk cId="349985760" sldId="2134806584"/>
            <ac:spMk id="4" creationId="{ABC74FC6-F703-75AB-AF4A-89E07A0F8F35}"/>
          </ac:spMkLst>
        </pc:spChg>
        <pc:graphicFrameChg chg="del">
          <ac:chgData name="Mohamed Ibissi" userId="90b6f8706c8cb808" providerId="LiveId" clId="{D4365AD1-7D00-42D7-8E47-6E306EC2F93A}" dt="2024-11-11T10:29:24.867" v="1745" actId="478"/>
          <ac:graphicFrameMkLst>
            <pc:docMk/>
            <pc:sldMk cId="349985760" sldId="2134806584"/>
            <ac:graphicFrameMk id="7" creationId="{82D3DA4A-9EC4-B8C7-BD49-9250905399EB}"/>
          </ac:graphicFrameMkLst>
        </pc:graphicFrameChg>
        <pc:picChg chg="add mod ord">
          <ac:chgData name="Mohamed Ibissi" userId="90b6f8706c8cb808" providerId="LiveId" clId="{D4365AD1-7D00-42D7-8E47-6E306EC2F93A}" dt="2024-11-11T10:29:27.978" v="1747" actId="167"/>
          <ac:picMkLst>
            <pc:docMk/>
            <pc:sldMk cId="349985760" sldId="2134806584"/>
            <ac:picMk id="5" creationId="{0005B928-A12A-9CC1-D3F2-FC1B9E88E3A4}"/>
          </ac:picMkLst>
        </pc:picChg>
      </pc:sldChg>
      <pc:sldChg chg="addSp delSp modSp add mod ord">
        <pc:chgData name="Mohamed Ibissi" userId="90b6f8706c8cb808" providerId="LiveId" clId="{D4365AD1-7D00-42D7-8E47-6E306EC2F93A}" dt="2024-11-11T10:29:51.056" v="1753" actId="167"/>
        <pc:sldMkLst>
          <pc:docMk/>
          <pc:sldMk cId="1338860684" sldId="2134806585"/>
        </pc:sldMkLst>
        <pc:graphicFrameChg chg="del">
          <ac:chgData name="Mohamed Ibissi" userId="90b6f8706c8cb808" providerId="LiveId" clId="{D4365AD1-7D00-42D7-8E47-6E306EC2F93A}" dt="2024-11-11T10:29:47.926" v="1751" actId="478"/>
          <ac:graphicFrameMkLst>
            <pc:docMk/>
            <pc:sldMk cId="1338860684" sldId="2134806585"/>
            <ac:graphicFrameMk id="4" creationId="{94168F6D-5336-8502-7AB0-00DB97208B1F}"/>
          </ac:graphicFrameMkLst>
        </pc:graphicFrameChg>
        <pc:picChg chg="add mod ord">
          <ac:chgData name="Mohamed Ibissi" userId="90b6f8706c8cb808" providerId="LiveId" clId="{D4365AD1-7D00-42D7-8E47-6E306EC2F93A}" dt="2024-11-11T10:29:51.056" v="1753" actId="167"/>
          <ac:picMkLst>
            <pc:docMk/>
            <pc:sldMk cId="1338860684" sldId="2134806585"/>
            <ac:picMk id="3" creationId="{F569D1B3-B7D6-64D1-C3B9-3D7FE6EA82DD}"/>
          </ac:picMkLst>
        </pc:picChg>
      </pc:sldChg>
      <pc:sldChg chg="addSp delSp modSp add mod ord replId">
        <pc:chgData name="Mohamed Ibissi" userId="90b6f8706c8cb808" providerId="LiveId" clId="{D4365AD1-7D00-42D7-8E47-6E306EC2F93A}" dt="2024-11-11T10:30:01.171" v="1756" actId="167"/>
        <pc:sldMkLst>
          <pc:docMk/>
          <pc:sldMk cId="664354076" sldId="2134806586"/>
        </pc:sldMkLst>
        <pc:graphicFrameChg chg="del">
          <ac:chgData name="Mohamed Ibissi" userId="90b6f8706c8cb808" providerId="LiveId" clId="{D4365AD1-7D00-42D7-8E47-6E306EC2F93A}" dt="2024-11-11T10:29:57.074" v="1754" actId="478"/>
          <ac:graphicFrameMkLst>
            <pc:docMk/>
            <pc:sldMk cId="664354076" sldId="2134806586"/>
            <ac:graphicFrameMk id="4" creationId="{881B09CB-E36E-5132-736C-63A45BD5AEC7}"/>
          </ac:graphicFrameMkLst>
        </pc:graphicFrameChg>
        <pc:picChg chg="add mod ord">
          <ac:chgData name="Mohamed Ibissi" userId="90b6f8706c8cb808" providerId="LiveId" clId="{D4365AD1-7D00-42D7-8E47-6E306EC2F93A}" dt="2024-11-11T10:30:01.171" v="1756" actId="167"/>
          <ac:picMkLst>
            <pc:docMk/>
            <pc:sldMk cId="664354076" sldId="2134806586"/>
            <ac:picMk id="5" creationId="{10E6CEDC-188B-6121-524E-831B00DB53F6}"/>
          </ac:picMkLst>
        </pc:picChg>
      </pc:sldChg>
      <pc:sldChg chg="addSp delSp modSp add del mod ord">
        <pc:chgData name="Mohamed Ibissi" userId="90b6f8706c8cb808" providerId="LiveId" clId="{D4365AD1-7D00-42D7-8E47-6E306EC2F93A}" dt="2024-11-12T10:50:35.537" v="2039" actId="47"/>
        <pc:sldMkLst>
          <pc:docMk/>
          <pc:sldMk cId="3495997754" sldId="2134806587"/>
        </pc:sldMkLst>
        <pc:spChg chg="mod">
          <ac:chgData name="Mohamed Ibissi" userId="90b6f8706c8cb808" providerId="LiveId" clId="{D4365AD1-7D00-42D7-8E47-6E306EC2F93A}" dt="2024-11-09T06:07:38.875" v="512" actId="20577"/>
          <ac:spMkLst>
            <pc:docMk/>
            <pc:sldMk cId="3495997754" sldId="2134806587"/>
            <ac:spMk id="2" creationId="{240182B4-1664-3049-12D4-E318035CED7A}"/>
          </ac:spMkLst>
        </pc:spChg>
        <pc:spChg chg="mod">
          <ac:chgData name="Mohamed Ibissi" userId="90b6f8706c8cb808" providerId="LiveId" clId="{D4365AD1-7D00-42D7-8E47-6E306EC2F93A}" dt="2024-11-09T06:07:15.397" v="486" actId="1076"/>
          <ac:spMkLst>
            <pc:docMk/>
            <pc:sldMk cId="3495997754" sldId="2134806587"/>
            <ac:spMk id="3" creationId="{93CAF295-2B78-10D2-48EC-F528354EF474}"/>
          </ac:spMkLst>
        </pc:spChg>
        <pc:spChg chg="mod">
          <ac:chgData name="Mohamed Ibissi" userId="90b6f8706c8cb808" providerId="LiveId" clId="{D4365AD1-7D00-42D7-8E47-6E306EC2F93A}" dt="2024-11-09T06:07:10.005" v="485" actId="14100"/>
          <ac:spMkLst>
            <pc:docMk/>
            <pc:sldMk cId="3495997754" sldId="2134806587"/>
            <ac:spMk id="4" creationId="{93F6B28A-440C-E816-E1E2-DCD6B18B403F}"/>
          </ac:spMkLst>
        </pc:spChg>
        <pc:graphicFrameChg chg="del">
          <ac:chgData name="Mohamed Ibissi" userId="90b6f8706c8cb808" providerId="LiveId" clId="{D4365AD1-7D00-42D7-8E47-6E306EC2F93A}" dt="2024-11-11T10:30:14.791" v="1760" actId="478"/>
          <ac:graphicFrameMkLst>
            <pc:docMk/>
            <pc:sldMk cId="3495997754" sldId="2134806587"/>
            <ac:graphicFrameMk id="7" creationId="{92246589-73F9-5E9B-B2D9-F86B6D037183}"/>
          </ac:graphicFrameMkLst>
        </pc:graphicFrameChg>
        <pc:picChg chg="add mod ord">
          <ac:chgData name="Mohamed Ibissi" userId="90b6f8706c8cb808" providerId="LiveId" clId="{D4365AD1-7D00-42D7-8E47-6E306EC2F93A}" dt="2024-11-11T10:30:17.981" v="1762" actId="167"/>
          <ac:picMkLst>
            <pc:docMk/>
            <pc:sldMk cId="3495997754" sldId="2134806587"/>
            <ac:picMk id="5" creationId="{969FB652-2601-2B7A-59E6-72DC6956FE5F}"/>
          </ac:picMkLst>
        </pc:picChg>
      </pc:sldChg>
      <pc:sldChg chg="addSp delSp modSp add del mod">
        <pc:chgData name="Mohamed Ibissi" userId="90b6f8706c8cb808" providerId="LiveId" clId="{D4365AD1-7D00-42D7-8E47-6E306EC2F93A}" dt="2024-11-12T10:50:38.053" v="2040" actId="47"/>
        <pc:sldMkLst>
          <pc:docMk/>
          <pc:sldMk cId="607332811" sldId="2134806588"/>
        </pc:sldMkLst>
        <pc:graphicFrameChg chg="del">
          <ac:chgData name="Mohamed Ibissi" userId="90b6f8706c8cb808" providerId="LiveId" clId="{D4365AD1-7D00-42D7-8E47-6E306EC2F93A}" dt="2024-11-11T10:30:23.374" v="1763" actId="478"/>
          <ac:graphicFrameMkLst>
            <pc:docMk/>
            <pc:sldMk cId="607332811" sldId="2134806588"/>
            <ac:graphicFrameMk id="4" creationId="{1063086A-CFF3-8CD6-86A8-8EE88C8DC628}"/>
          </ac:graphicFrameMkLst>
        </pc:graphicFrameChg>
        <pc:picChg chg="add mod ord">
          <ac:chgData name="Mohamed Ibissi" userId="90b6f8706c8cb808" providerId="LiveId" clId="{D4365AD1-7D00-42D7-8E47-6E306EC2F93A}" dt="2024-11-11T10:30:26.123" v="1765" actId="167"/>
          <ac:picMkLst>
            <pc:docMk/>
            <pc:sldMk cId="607332811" sldId="2134806588"/>
            <ac:picMk id="5" creationId="{6DACD9C7-279C-19BB-ABD0-A50BED29C73F}"/>
          </ac:picMkLst>
        </pc:picChg>
      </pc:sldChg>
      <pc:sldChg chg="addSp delSp modSp add del mod replId">
        <pc:chgData name="Mohamed Ibissi" userId="90b6f8706c8cb808" providerId="LiveId" clId="{D4365AD1-7D00-42D7-8E47-6E306EC2F93A}" dt="2024-11-12T10:50:39.665" v="2041" actId="47"/>
        <pc:sldMkLst>
          <pc:docMk/>
          <pc:sldMk cId="2453298672" sldId="2134806589"/>
        </pc:sldMkLst>
        <pc:graphicFrameChg chg="del">
          <ac:chgData name="Mohamed Ibissi" userId="90b6f8706c8cb808" providerId="LiveId" clId="{D4365AD1-7D00-42D7-8E47-6E306EC2F93A}" dt="2024-11-11T10:30:32.001" v="1766" actId="478"/>
          <ac:graphicFrameMkLst>
            <pc:docMk/>
            <pc:sldMk cId="2453298672" sldId="2134806589"/>
            <ac:graphicFrameMk id="4" creationId="{FA33CCF2-7DED-04E3-EBCE-EB09B80A64CC}"/>
          </ac:graphicFrameMkLst>
        </pc:graphicFrameChg>
        <pc:picChg chg="add mod ord">
          <ac:chgData name="Mohamed Ibissi" userId="90b6f8706c8cb808" providerId="LiveId" clId="{D4365AD1-7D00-42D7-8E47-6E306EC2F93A}" dt="2024-11-11T10:30:35.222" v="1768" actId="167"/>
          <ac:picMkLst>
            <pc:docMk/>
            <pc:sldMk cId="2453298672" sldId="2134806589"/>
            <ac:picMk id="3" creationId="{49C13A73-143F-75C3-49C0-9AEA745BC4C4}"/>
          </ac:picMkLst>
        </pc:picChg>
      </pc:sldChg>
      <pc:sldChg chg="addSp delSp modSp add del mod replId">
        <pc:chgData name="Mohamed Ibissi" userId="90b6f8706c8cb808" providerId="LiveId" clId="{D4365AD1-7D00-42D7-8E47-6E306EC2F93A}" dt="2024-11-12T10:50:40.665" v="2042" actId="47"/>
        <pc:sldMkLst>
          <pc:docMk/>
          <pc:sldMk cId="1054686414" sldId="2134806590"/>
        </pc:sldMkLst>
        <pc:graphicFrameChg chg="del">
          <ac:chgData name="Mohamed Ibissi" userId="90b6f8706c8cb808" providerId="LiveId" clId="{D4365AD1-7D00-42D7-8E47-6E306EC2F93A}" dt="2024-11-11T10:30:41.039" v="1769" actId="478"/>
          <ac:graphicFrameMkLst>
            <pc:docMk/>
            <pc:sldMk cId="1054686414" sldId="2134806590"/>
            <ac:graphicFrameMk id="4" creationId="{EBDE1A5A-3D00-ADC8-0C18-FFD182665E33}"/>
          </ac:graphicFrameMkLst>
        </pc:graphicFrameChg>
        <pc:picChg chg="add mod ord">
          <ac:chgData name="Mohamed Ibissi" userId="90b6f8706c8cb808" providerId="LiveId" clId="{D4365AD1-7D00-42D7-8E47-6E306EC2F93A}" dt="2024-11-11T10:30:44.149" v="1771" actId="167"/>
          <ac:picMkLst>
            <pc:docMk/>
            <pc:sldMk cId="1054686414" sldId="2134806590"/>
            <ac:picMk id="5" creationId="{5ED98DAC-D90C-8C67-14F0-74B3FF12A12A}"/>
          </ac:picMkLst>
        </pc:picChg>
      </pc:sldChg>
      <pc:sldChg chg="addSp delSp modSp add del mod replId modAnim">
        <pc:chgData name="Mohamed Ibissi" userId="90b6f8706c8cb808" providerId="LiveId" clId="{D4365AD1-7D00-42D7-8E47-6E306EC2F93A}" dt="2024-11-12T10:50:42.133" v="2043" actId="47"/>
        <pc:sldMkLst>
          <pc:docMk/>
          <pc:sldMk cId="3010431797" sldId="2134806591"/>
        </pc:sldMkLst>
        <pc:spChg chg="add mod">
          <ac:chgData name="Mohamed Ibissi" userId="90b6f8706c8cb808" providerId="LiveId" clId="{D4365AD1-7D00-42D7-8E47-6E306EC2F93A}" dt="2024-11-09T08:42:35.495" v="1445" actId="1076"/>
          <ac:spMkLst>
            <pc:docMk/>
            <pc:sldMk cId="3010431797" sldId="2134806591"/>
            <ac:spMk id="2" creationId="{C550E39E-0297-D22D-FC99-74AA2CEF43C9}"/>
          </ac:spMkLst>
        </pc:spChg>
        <pc:spChg chg="mod">
          <ac:chgData name="Mohamed Ibissi" userId="90b6f8706c8cb808" providerId="LiveId" clId="{D4365AD1-7D00-42D7-8E47-6E306EC2F93A}" dt="2024-11-09T08:42:35.495" v="1445" actId="1076"/>
          <ac:spMkLst>
            <pc:docMk/>
            <pc:sldMk cId="3010431797" sldId="2134806591"/>
            <ac:spMk id="6" creationId="{0DFF525C-C0C2-D3AF-316A-452BBB481243}"/>
          </ac:spMkLst>
        </pc:spChg>
        <pc:spChg chg="add mod">
          <ac:chgData name="Mohamed Ibissi" userId="90b6f8706c8cb808" providerId="LiveId" clId="{D4365AD1-7D00-42D7-8E47-6E306EC2F93A}" dt="2024-11-09T08:42:35.495" v="1445" actId="1076"/>
          <ac:spMkLst>
            <pc:docMk/>
            <pc:sldMk cId="3010431797" sldId="2134806591"/>
            <ac:spMk id="7" creationId="{4FF8869B-D0D3-9B70-7054-511E26818B6E}"/>
          </ac:spMkLst>
        </pc:spChg>
        <pc:spChg chg="add mod">
          <ac:chgData name="Mohamed Ibissi" userId="90b6f8706c8cb808" providerId="LiveId" clId="{D4365AD1-7D00-42D7-8E47-6E306EC2F93A}" dt="2024-11-09T08:42:20.083" v="1443" actId="1076"/>
          <ac:spMkLst>
            <pc:docMk/>
            <pc:sldMk cId="3010431797" sldId="2134806591"/>
            <ac:spMk id="8" creationId="{686A724F-6EE4-0BB7-D373-C6A7A3F078E5}"/>
          </ac:spMkLst>
        </pc:spChg>
        <pc:graphicFrameChg chg="del">
          <ac:chgData name="Mohamed Ibissi" userId="90b6f8706c8cb808" providerId="LiveId" clId="{D4365AD1-7D00-42D7-8E47-6E306EC2F93A}" dt="2024-11-11T10:30:49.824" v="1772" actId="478"/>
          <ac:graphicFrameMkLst>
            <pc:docMk/>
            <pc:sldMk cId="3010431797" sldId="2134806591"/>
            <ac:graphicFrameMk id="4" creationId="{46C69CCB-E87E-7288-47AB-03824235586E}"/>
          </ac:graphicFrameMkLst>
        </pc:graphicFrameChg>
        <pc:picChg chg="add mod ord">
          <ac:chgData name="Mohamed Ibissi" userId="90b6f8706c8cb808" providerId="LiveId" clId="{D4365AD1-7D00-42D7-8E47-6E306EC2F93A}" dt="2024-11-11T10:30:53.138" v="1774" actId="167"/>
          <ac:picMkLst>
            <pc:docMk/>
            <pc:sldMk cId="3010431797" sldId="2134806591"/>
            <ac:picMk id="10" creationId="{93FE2A44-C026-B5A3-E047-93722AA5D918}"/>
          </ac:picMkLst>
        </pc:picChg>
      </pc:sldChg>
      <pc:sldChg chg="addSp delSp modSp add mod modAnim">
        <pc:chgData name="Mohamed Ibissi" userId="90b6f8706c8cb808" providerId="LiveId" clId="{D4365AD1-7D00-42D7-8E47-6E306EC2F93A}" dt="2024-11-11T10:31:13.338" v="1780" actId="167"/>
        <pc:sldMkLst>
          <pc:docMk/>
          <pc:sldMk cId="1349712520" sldId="2134806592"/>
        </pc:sldMkLst>
        <pc:spChg chg="mod">
          <ac:chgData name="Mohamed Ibissi" userId="90b6f8706c8cb808" providerId="LiveId" clId="{D4365AD1-7D00-42D7-8E47-6E306EC2F93A}" dt="2024-11-10T21:44:46.163" v="1514" actId="6549"/>
          <ac:spMkLst>
            <pc:docMk/>
            <pc:sldMk cId="1349712520" sldId="2134806592"/>
            <ac:spMk id="3" creationId="{AF046DAB-2B4F-F734-CC6E-30DD76D84E61}"/>
          </ac:spMkLst>
        </pc:spChg>
        <pc:spChg chg="del">
          <ac:chgData name="Mohamed Ibissi" userId="90b6f8706c8cb808" providerId="LiveId" clId="{D4365AD1-7D00-42D7-8E47-6E306EC2F93A}" dt="2024-11-09T06:13:21.240" v="581" actId="478"/>
          <ac:spMkLst>
            <pc:docMk/>
            <pc:sldMk cId="1349712520" sldId="2134806592"/>
            <ac:spMk id="11" creationId="{1F11F01C-6EA8-0393-BA67-5D72A9D8274D}"/>
          </ac:spMkLst>
        </pc:spChg>
        <pc:spChg chg="add mod">
          <ac:chgData name="Mohamed Ibissi" userId="90b6f8706c8cb808" providerId="LiveId" clId="{D4365AD1-7D00-42D7-8E47-6E306EC2F93A}" dt="2024-11-09T06:13:32.981" v="582"/>
          <ac:spMkLst>
            <pc:docMk/>
            <pc:sldMk cId="1349712520" sldId="2134806592"/>
            <ac:spMk id="12" creationId="{DC7A6772-2901-4C1C-A125-A7E3D51DC78A}"/>
          </ac:spMkLst>
        </pc:spChg>
        <pc:spChg chg="add mod">
          <ac:chgData name="Mohamed Ibissi" userId="90b6f8706c8cb808" providerId="LiveId" clId="{D4365AD1-7D00-42D7-8E47-6E306EC2F93A}" dt="2024-11-09T08:43:11.808" v="1454" actId="1036"/>
          <ac:spMkLst>
            <pc:docMk/>
            <pc:sldMk cId="1349712520" sldId="2134806592"/>
            <ac:spMk id="13" creationId="{5BBB9D44-8731-EEC8-3731-733A92B3D667}"/>
          </ac:spMkLst>
        </pc:spChg>
        <pc:graphicFrameChg chg="del">
          <ac:chgData name="Mohamed Ibissi" userId="90b6f8706c8cb808" providerId="LiveId" clId="{D4365AD1-7D00-42D7-8E47-6E306EC2F93A}" dt="2024-11-11T10:31:10.134" v="1778" actId="478"/>
          <ac:graphicFrameMkLst>
            <pc:docMk/>
            <pc:sldMk cId="1349712520" sldId="2134806592"/>
            <ac:graphicFrameMk id="4" creationId="{BBC09D87-0095-69A9-6699-927F3ED9E280}"/>
          </ac:graphicFrameMkLst>
        </pc:graphicFrameChg>
        <pc:picChg chg="add mod">
          <ac:chgData name="Mohamed Ibissi" userId="90b6f8706c8cb808" providerId="LiveId" clId="{D4365AD1-7D00-42D7-8E47-6E306EC2F93A}" dt="2024-11-09T06:13:32.981" v="582"/>
          <ac:picMkLst>
            <pc:docMk/>
            <pc:sldMk cId="1349712520" sldId="2134806592"/>
            <ac:picMk id="6" creationId="{199B2195-4C99-0CEB-F37F-9A1806A996AB}"/>
          </ac:picMkLst>
        </pc:picChg>
        <pc:picChg chg="add mod">
          <ac:chgData name="Mohamed Ibissi" userId="90b6f8706c8cb808" providerId="LiveId" clId="{D4365AD1-7D00-42D7-8E47-6E306EC2F93A}" dt="2024-11-09T06:13:32.981" v="582"/>
          <ac:picMkLst>
            <pc:docMk/>
            <pc:sldMk cId="1349712520" sldId="2134806592"/>
            <ac:picMk id="7" creationId="{0BCCED1E-28FD-A3FD-D2CD-34EADBF4DEDF}"/>
          </ac:picMkLst>
        </pc:picChg>
        <pc:picChg chg="add mod ord">
          <ac:chgData name="Mohamed Ibissi" userId="90b6f8706c8cb808" providerId="LiveId" clId="{D4365AD1-7D00-42D7-8E47-6E306EC2F93A}" dt="2024-11-11T10:31:13.338" v="1780" actId="167"/>
          <ac:picMkLst>
            <pc:docMk/>
            <pc:sldMk cId="1349712520" sldId="2134806592"/>
            <ac:picMk id="10" creationId="{1F79039B-9489-3284-2F47-A0C9FE8D669A}"/>
          </ac:picMkLst>
        </pc:picChg>
        <pc:picChg chg="del">
          <ac:chgData name="Mohamed Ibissi" userId="90b6f8706c8cb808" providerId="LiveId" clId="{D4365AD1-7D00-42D7-8E47-6E306EC2F93A}" dt="2024-11-09T06:13:17.910" v="580" actId="478"/>
          <ac:picMkLst>
            <pc:docMk/>
            <pc:sldMk cId="1349712520" sldId="2134806592"/>
            <ac:picMk id="10" creationId="{E4D0282B-88B3-7C89-B1AE-F0A68422B7D9}"/>
          </ac:picMkLst>
        </pc:picChg>
      </pc:sldChg>
      <pc:sldChg chg="addSp delSp modSp add mod modAnim">
        <pc:chgData name="Mohamed Ibissi" userId="90b6f8706c8cb808" providerId="LiveId" clId="{D4365AD1-7D00-42D7-8E47-6E306EC2F93A}" dt="2024-11-11T10:31:21.703" v="1783" actId="167"/>
        <pc:sldMkLst>
          <pc:docMk/>
          <pc:sldMk cId="1418525123" sldId="2134806593"/>
        </pc:sldMkLst>
        <pc:spChg chg="mod">
          <ac:chgData name="Mohamed Ibissi" userId="90b6f8706c8cb808" providerId="LiveId" clId="{D4365AD1-7D00-42D7-8E47-6E306EC2F93A}" dt="2024-11-10T21:44:58.782" v="1521" actId="20577"/>
          <ac:spMkLst>
            <pc:docMk/>
            <pc:sldMk cId="1418525123" sldId="2134806593"/>
            <ac:spMk id="3" creationId="{4E95E2FE-9EAE-5072-DDFD-EA98A07F57F4}"/>
          </ac:spMkLst>
        </pc:spChg>
        <pc:spChg chg="add mod">
          <ac:chgData name="Mohamed Ibissi" userId="90b6f8706c8cb808" providerId="LiveId" clId="{D4365AD1-7D00-42D7-8E47-6E306EC2F93A}" dt="2024-11-09T08:43:44.886" v="1467" actId="1035"/>
          <ac:spMkLst>
            <pc:docMk/>
            <pc:sldMk cId="1418525123" sldId="2134806593"/>
            <ac:spMk id="10" creationId="{D9AE5299-FC1A-4CF1-66F1-2904727E0C52}"/>
          </ac:spMkLst>
        </pc:spChg>
        <pc:spChg chg="add mod">
          <ac:chgData name="Mohamed Ibissi" userId="90b6f8706c8cb808" providerId="LiveId" clId="{D4365AD1-7D00-42D7-8E47-6E306EC2F93A}" dt="2024-11-09T08:43:23.437" v="1456"/>
          <ac:spMkLst>
            <pc:docMk/>
            <pc:sldMk cId="1418525123" sldId="2134806593"/>
            <ac:spMk id="11" creationId="{904DA186-DA89-3957-431A-7864F5773FC6}"/>
          </ac:spMkLst>
        </pc:spChg>
        <pc:spChg chg="del">
          <ac:chgData name="Mohamed Ibissi" userId="90b6f8706c8cb808" providerId="LiveId" clId="{D4365AD1-7D00-42D7-8E47-6E306EC2F93A}" dt="2024-11-09T08:43:22.968" v="1455" actId="478"/>
          <ac:spMkLst>
            <pc:docMk/>
            <pc:sldMk cId="1418525123" sldId="2134806593"/>
            <ac:spMk id="13" creationId="{9217D495-64DD-AF00-C028-9D000B013DF1}"/>
          </ac:spMkLst>
        </pc:spChg>
        <pc:graphicFrameChg chg="del">
          <ac:chgData name="Mohamed Ibissi" userId="90b6f8706c8cb808" providerId="LiveId" clId="{D4365AD1-7D00-42D7-8E47-6E306EC2F93A}" dt="2024-11-11T10:31:18.685" v="1781" actId="478"/>
          <ac:graphicFrameMkLst>
            <pc:docMk/>
            <pc:sldMk cId="1418525123" sldId="2134806593"/>
            <ac:graphicFrameMk id="4" creationId="{06A17DA9-210F-C1B5-D015-2DB9D1A2A627}"/>
          </ac:graphicFrameMkLst>
        </pc:graphicFrameChg>
        <pc:picChg chg="add mod ord">
          <ac:chgData name="Mohamed Ibissi" userId="90b6f8706c8cb808" providerId="LiveId" clId="{D4365AD1-7D00-42D7-8E47-6E306EC2F93A}" dt="2024-11-11T10:31:21.703" v="1783" actId="167"/>
          <ac:picMkLst>
            <pc:docMk/>
            <pc:sldMk cId="1418525123" sldId="2134806593"/>
            <ac:picMk id="13" creationId="{953D9183-1F38-6675-A3DC-FF611CBF5B85}"/>
          </ac:picMkLst>
        </pc:picChg>
      </pc:sldChg>
      <pc:sldChg chg="addSp delSp modSp add mod modAnim">
        <pc:chgData name="Mohamed Ibissi" userId="90b6f8706c8cb808" providerId="LiveId" clId="{D4365AD1-7D00-42D7-8E47-6E306EC2F93A}" dt="2024-11-11T17:08:56.169" v="2027" actId="1076"/>
        <pc:sldMkLst>
          <pc:docMk/>
          <pc:sldMk cId="806297065" sldId="2134806594"/>
        </pc:sldMkLst>
        <pc:spChg chg="mod">
          <ac:chgData name="Mohamed Ibissi" userId="90b6f8706c8cb808" providerId="LiveId" clId="{D4365AD1-7D00-42D7-8E47-6E306EC2F93A}" dt="2024-11-11T17:08:56.169" v="2027" actId="1076"/>
          <ac:spMkLst>
            <pc:docMk/>
            <pc:sldMk cId="806297065" sldId="2134806594"/>
            <ac:spMk id="3" creationId="{C5B019AA-97DD-775E-EB48-3CB00C1D43CA}"/>
          </ac:spMkLst>
        </pc:spChg>
        <pc:spChg chg="del">
          <ac:chgData name="Mohamed Ibissi" userId="90b6f8706c8cb808" providerId="LiveId" clId="{D4365AD1-7D00-42D7-8E47-6E306EC2F93A}" dt="2024-11-09T08:43:57.265" v="1468" actId="478"/>
          <ac:spMkLst>
            <pc:docMk/>
            <pc:sldMk cId="806297065" sldId="2134806594"/>
            <ac:spMk id="10" creationId="{2CA25A6D-C49F-476D-6CB8-9CE19158BC65}"/>
          </ac:spMkLst>
        </pc:spChg>
        <pc:spChg chg="add mod">
          <ac:chgData name="Mohamed Ibissi" userId="90b6f8706c8cb808" providerId="LiveId" clId="{D4365AD1-7D00-42D7-8E47-6E306EC2F93A}" dt="2024-11-09T08:43:57.765" v="1469"/>
          <ac:spMkLst>
            <pc:docMk/>
            <pc:sldMk cId="806297065" sldId="2134806594"/>
            <ac:spMk id="11" creationId="{B0707114-4F1E-F669-19BA-42D360F1752D}"/>
          </ac:spMkLst>
        </pc:spChg>
        <pc:spChg chg="del">
          <ac:chgData name="Mohamed Ibissi" userId="90b6f8706c8cb808" providerId="LiveId" clId="{D4365AD1-7D00-42D7-8E47-6E306EC2F93A}" dt="2024-11-09T08:43:57.265" v="1468" actId="478"/>
          <ac:spMkLst>
            <pc:docMk/>
            <pc:sldMk cId="806297065" sldId="2134806594"/>
            <ac:spMk id="13" creationId="{97F8C642-E074-1DBB-1F13-5295CE8ED4E5}"/>
          </ac:spMkLst>
        </pc:spChg>
        <pc:spChg chg="add mod">
          <ac:chgData name="Mohamed Ibissi" userId="90b6f8706c8cb808" providerId="LiveId" clId="{D4365AD1-7D00-42D7-8E47-6E306EC2F93A}" dt="2024-11-09T08:43:57.765" v="1469"/>
          <ac:spMkLst>
            <pc:docMk/>
            <pc:sldMk cId="806297065" sldId="2134806594"/>
            <ac:spMk id="14" creationId="{031F1899-1F64-90FD-1D97-0BAAC8B62261}"/>
          </ac:spMkLst>
        </pc:spChg>
        <pc:graphicFrameChg chg="del">
          <ac:chgData name="Mohamed Ibissi" userId="90b6f8706c8cb808" providerId="LiveId" clId="{D4365AD1-7D00-42D7-8E47-6E306EC2F93A}" dt="2024-11-11T10:31:26.423" v="1784" actId="478"/>
          <ac:graphicFrameMkLst>
            <pc:docMk/>
            <pc:sldMk cId="806297065" sldId="2134806594"/>
            <ac:graphicFrameMk id="4" creationId="{7EAB793D-BFA8-4715-121F-D79D425A4894}"/>
          </ac:graphicFrameMkLst>
        </pc:graphicFrameChg>
        <pc:picChg chg="add mod ord">
          <ac:chgData name="Mohamed Ibissi" userId="90b6f8706c8cb808" providerId="LiveId" clId="{D4365AD1-7D00-42D7-8E47-6E306EC2F93A}" dt="2024-11-11T10:31:29.925" v="1786" actId="167"/>
          <ac:picMkLst>
            <pc:docMk/>
            <pc:sldMk cId="806297065" sldId="2134806594"/>
            <ac:picMk id="10" creationId="{FBE376A6-B159-D32F-28FB-2DEB961D7AC9}"/>
          </ac:picMkLst>
        </pc:picChg>
      </pc:sldChg>
      <pc:sldChg chg="addSp delSp modSp add mod">
        <pc:chgData name="Mohamed Ibissi" userId="90b6f8706c8cb808" providerId="LiveId" clId="{D4365AD1-7D00-42D7-8E47-6E306EC2F93A}" dt="2024-11-11T17:09:17.586" v="2030" actId="20577"/>
        <pc:sldMkLst>
          <pc:docMk/>
          <pc:sldMk cId="3484573830" sldId="2134806595"/>
        </pc:sldMkLst>
        <pc:spChg chg="mod">
          <ac:chgData name="Mohamed Ibissi" userId="90b6f8706c8cb808" providerId="LiveId" clId="{D4365AD1-7D00-42D7-8E47-6E306EC2F93A}" dt="2024-11-11T17:09:17.586" v="2030" actId="20577"/>
          <ac:spMkLst>
            <pc:docMk/>
            <pc:sldMk cId="3484573830" sldId="2134806595"/>
            <ac:spMk id="3" creationId="{4C9E906E-1B71-4131-369D-022908F11D82}"/>
          </ac:spMkLst>
        </pc:spChg>
        <pc:spChg chg="del">
          <ac:chgData name="Mohamed Ibissi" userId="90b6f8706c8cb808" providerId="LiveId" clId="{D4365AD1-7D00-42D7-8E47-6E306EC2F93A}" dt="2024-11-09T06:17:10.155" v="633" actId="478"/>
          <ac:spMkLst>
            <pc:docMk/>
            <pc:sldMk cId="3484573830" sldId="2134806595"/>
            <ac:spMk id="10" creationId="{50FA7A44-4CBA-BFDC-30E5-B9C4A086E08D}"/>
          </ac:spMkLst>
        </pc:spChg>
        <pc:spChg chg="del">
          <ac:chgData name="Mohamed Ibissi" userId="90b6f8706c8cb808" providerId="LiveId" clId="{D4365AD1-7D00-42D7-8E47-6E306EC2F93A}" dt="2024-11-09T06:17:10.155" v="633" actId="478"/>
          <ac:spMkLst>
            <pc:docMk/>
            <pc:sldMk cId="3484573830" sldId="2134806595"/>
            <ac:spMk id="12" creationId="{08DDE66D-569C-B455-0E4B-FB237218F9C8}"/>
          </ac:spMkLst>
        </pc:spChg>
        <pc:spChg chg="del">
          <ac:chgData name="Mohamed Ibissi" userId="90b6f8706c8cb808" providerId="LiveId" clId="{D4365AD1-7D00-42D7-8E47-6E306EC2F93A}" dt="2024-11-09T06:17:10.155" v="633" actId="478"/>
          <ac:spMkLst>
            <pc:docMk/>
            <pc:sldMk cId="3484573830" sldId="2134806595"/>
            <ac:spMk id="13" creationId="{932F3F81-A70F-45AA-3173-70BE9AC72147}"/>
          </ac:spMkLst>
        </pc:spChg>
        <pc:spChg chg="add mod">
          <ac:chgData name="Mohamed Ibissi" userId="90b6f8706c8cb808" providerId="LiveId" clId="{D4365AD1-7D00-42D7-8E47-6E306EC2F93A}" dt="2024-11-09T06:18:34.663" v="675"/>
          <ac:spMkLst>
            <pc:docMk/>
            <pc:sldMk cId="3484573830" sldId="2134806595"/>
            <ac:spMk id="15" creationId="{08F551CC-888C-551B-CA16-F0CA5C7C22E1}"/>
          </ac:spMkLst>
        </pc:spChg>
        <pc:graphicFrameChg chg="del">
          <ac:chgData name="Mohamed Ibissi" userId="90b6f8706c8cb808" providerId="LiveId" clId="{D4365AD1-7D00-42D7-8E47-6E306EC2F93A}" dt="2024-11-11T10:31:35.506" v="1787" actId="478"/>
          <ac:graphicFrameMkLst>
            <pc:docMk/>
            <pc:sldMk cId="3484573830" sldId="2134806595"/>
            <ac:graphicFrameMk id="4" creationId="{F761FDA5-23E7-06F1-790F-A77338C265F3}"/>
          </ac:graphicFrameMkLst>
        </pc:graphicFrameChg>
        <pc:picChg chg="del">
          <ac:chgData name="Mohamed Ibissi" userId="90b6f8706c8cb808" providerId="LiveId" clId="{D4365AD1-7D00-42D7-8E47-6E306EC2F93A}" dt="2024-11-09T06:17:10.155" v="633" actId="478"/>
          <ac:picMkLst>
            <pc:docMk/>
            <pc:sldMk cId="3484573830" sldId="2134806595"/>
            <ac:picMk id="2" creationId="{68BDF126-84E7-BE2E-AFF8-20A2C80A235B}"/>
          </ac:picMkLst>
        </pc:picChg>
        <pc:picChg chg="add mod ord">
          <ac:chgData name="Mohamed Ibissi" userId="90b6f8706c8cb808" providerId="LiveId" clId="{D4365AD1-7D00-42D7-8E47-6E306EC2F93A}" dt="2024-11-11T10:31:38.553" v="1789" actId="167"/>
          <ac:picMkLst>
            <pc:docMk/>
            <pc:sldMk cId="3484573830" sldId="2134806595"/>
            <ac:picMk id="2" creationId="{D95B4592-FB21-A16A-C14F-49A85D1CA67F}"/>
          </ac:picMkLst>
        </pc:picChg>
        <pc:picChg chg="del">
          <ac:chgData name="Mohamed Ibissi" userId="90b6f8706c8cb808" providerId="LiveId" clId="{D4365AD1-7D00-42D7-8E47-6E306EC2F93A}" dt="2024-11-09T06:17:10.155" v="633" actId="478"/>
          <ac:picMkLst>
            <pc:docMk/>
            <pc:sldMk cId="3484573830" sldId="2134806595"/>
            <ac:picMk id="6" creationId="{6CB4C2A9-FD19-A8CB-BFD3-56165B53B233}"/>
          </ac:picMkLst>
        </pc:picChg>
        <pc:picChg chg="del">
          <ac:chgData name="Mohamed Ibissi" userId="90b6f8706c8cb808" providerId="LiveId" clId="{D4365AD1-7D00-42D7-8E47-6E306EC2F93A}" dt="2024-11-09T06:17:10.155" v="633" actId="478"/>
          <ac:picMkLst>
            <pc:docMk/>
            <pc:sldMk cId="3484573830" sldId="2134806595"/>
            <ac:picMk id="7" creationId="{CCCEFC4D-CB3E-A401-B7DB-983D4833DA82}"/>
          </ac:picMkLst>
        </pc:picChg>
        <pc:picChg chg="del">
          <ac:chgData name="Mohamed Ibissi" userId="90b6f8706c8cb808" providerId="LiveId" clId="{D4365AD1-7D00-42D7-8E47-6E306EC2F93A}" dt="2024-11-09T06:17:10.155" v="633" actId="478"/>
          <ac:picMkLst>
            <pc:docMk/>
            <pc:sldMk cId="3484573830" sldId="2134806595"/>
            <ac:picMk id="8" creationId="{F2380924-E5FB-4E69-7D46-4C1C462EB250}"/>
          </ac:picMkLst>
        </pc:picChg>
        <pc:picChg chg="del">
          <ac:chgData name="Mohamed Ibissi" userId="90b6f8706c8cb808" providerId="LiveId" clId="{D4365AD1-7D00-42D7-8E47-6E306EC2F93A}" dt="2024-11-09T06:17:10.155" v="633" actId="478"/>
          <ac:picMkLst>
            <pc:docMk/>
            <pc:sldMk cId="3484573830" sldId="2134806595"/>
            <ac:picMk id="9" creationId="{392F1F7A-7A84-ADB9-26F9-716EC07B09FD}"/>
          </ac:picMkLst>
        </pc:picChg>
        <pc:picChg chg="add mod">
          <ac:chgData name="Mohamed Ibissi" userId="90b6f8706c8cb808" providerId="LiveId" clId="{D4365AD1-7D00-42D7-8E47-6E306EC2F93A}" dt="2024-11-09T06:18:34.663" v="675"/>
          <ac:picMkLst>
            <pc:docMk/>
            <pc:sldMk cId="3484573830" sldId="2134806595"/>
            <ac:picMk id="11" creationId="{036A611B-C127-975E-3436-EDC69FE64169}"/>
          </ac:picMkLst>
        </pc:picChg>
        <pc:picChg chg="add mod">
          <ac:chgData name="Mohamed Ibissi" userId="90b6f8706c8cb808" providerId="LiveId" clId="{D4365AD1-7D00-42D7-8E47-6E306EC2F93A}" dt="2024-11-09T06:18:34.663" v="675"/>
          <ac:picMkLst>
            <pc:docMk/>
            <pc:sldMk cId="3484573830" sldId="2134806595"/>
            <ac:picMk id="14" creationId="{19587C57-F408-C34C-1BA8-379496B96DE2}"/>
          </ac:picMkLst>
        </pc:picChg>
        <pc:picChg chg="add mod">
          <ac:chgData name="Mohamed Ibissi" userId="90b6f8706c8cb808" providerId="LiveId" clId="{D4365AD1-7D00-42D7-8E47-6E306EC2F93A}" dt="2024-11-09T06:18:34.663" v="675"/>
          <ac:picMkLst>
            <pc:docMk/>
            <pc:sldMk cId="3484573830" sldId="2134806595"/>
            <ac:picMk id="16" creationId="{53C1A015-F31F-331C-D015-4EAE9FE433CF}"/>
          </ac:picMkLst>
        </pc:picChg>
        <pc:picChg chg="add mod">
          <ac:chgData name="Mohamed Ibissi" userId="90b6f8706c8cb808" providerId="LiveId" clId="{D4365AD1-7D00-42D7-8E47-6E306EC2F93A}" dt="2024-11-09T06:18:34.663" v="675"/>
          <ac:picMkLst>
            <pc:docMk/>
            <pc:sldMk cId="3484573830" sldId="2134806595"/>
            <ac:picMk id="17" creationId="{C91422F2-598F-EF24-D122-5C8AFA6246B4}"/>
          </ac:picMkLst>
        </pc:picChg>
        <pc:picChg chg="add mod">
          <ac:chgData name="Mohamed Ibissi" userId="90b6f8706c8cb808" providerId="LiveId" clId="{D4365AD1-7D00-42D7-8E47-6E306EC2F93A}" dt="2024-11-09T06:18:34.663" v="675"/>
          <ac:picMkLst>
            <pc:docMk/>
            <pc:sldMk cId="3484573830" sldId="2134806595"/>
            <ac:picMk id="18" creationId="{07A4BC31-A00F-3950-15E0-5C8510C6C3F4}"/>
          </ac:picMkLst>
        </pc:picChg>
      </pc:sldChg>
      <pc:sldChg chg="addSp delSp modSp add mod modAnim">
        <pc:chgData name="Mohamed Ibissi" userId="90b6f8706c8cb808" providerId="LiveId" clId="{D4365AD1-7D00-42D7-8E47-6E306EC2F93A}" dt="2024-11-11T10:31:46.856" v="1792" actId="167"/>
        <pc:sldMkLst>
          <pc:docMk/>
          <pc:sldMk cId="2916162898" sldId="2134806596"/>
        </pc:sldMkLst>
        <pc:spChg chg="add mod">
          <ac:chgData name="Mohamed Ibissi" userId="90b6f8706c8cb808" providerId="LiveId" clId="{D4365AD1-7D00-42D7-8E47-6E306EC2F93A}" dt="2024-11-09T08:44:36.348" v="1483" actId="1035"/>
          <ac:spMkLst>
            <pc:docMk/>
            <pc:sldMk cId="2916162898" sldId="2134806596"/>
            <ac:spMk id="2" creationId="{0A596353-10D7-401B-7D0D-6EE8F7D926D6}"/>
          </ac:spMkLst>
        </pc:spChg>
        <pc:spChg chg="mod">
          <ac:chgData name="Mohamed Ibissi" userId="90b6f8706c8cb808" providerId="LiveId" clId="{D4365AD1-7D00-42D7-8E47-6E306EC2F93A}" dt="2024-11-09T06:19:15.531" v="677"/>
          <ac:spMkLst>
            <pc:docMk/>
            <pc:sldMk cId="2916162898" sldId="2134806596"/>
            <ac:spMk id="3" creationId="{D042E291-123E-6B69-FAA9-3CC5D3C3491A}"/>
          </ac:spMkLst>
        </pc:spChg>
        <pc:graphicFrameChg chg="del">
          <ac:chgData name="Mohamed Ibissi" userId="90b6f8706c8cb808" providerId="LiveId" clId="{D4365AD1-7D00-42D7-8E47-6E306EC2F93A}" dt="2024-11-11T10:31:43.573" v="1790" actId="478"/>
          <ac:graphicFrameMkLst>
            <pc:docMk/>
            <pc:sldMk cId="2916162898" sldId="2134806596"/>
            <ac:graphicFrameMk id="4" creationId="{FD47CE1B-1939-1296-B64D-360AD69ED5BA}"/>
          </ac:graphicFrameMkLst>
        </pc:graphicFrameChg>
        <pc:picChg chg="add mod ord">
          <ac:chgData name="Mohamed Ibissi" userId="90b6f8706c8cb808" providerId="LiveId" clId="{D4365AD1-7D00-42D7-8E47-6E306EC2F93A}" dt="2024-11-11T10:31:46.856" v="1792" actId="167"/>
          <ac:picMkLst>
            <pc:docMk/>
            <pc:sldMk cId="2916162898" sldId="2134806596"/>
            <ac:picMk id="6" creationId="{127E209D-C26E-B109-9F34-A75E7B1AFA87}"/>
          </ac:picMkLst>
        </pc:picChg>
      </pc:sldChg>
      <pc:sldChg chg="addSp delSp modSp add mod modAnim">
        <pc:chgData name="Mohamed Ibissi" userId="90b6f8706c8cb808" providerId="LiveId" clId="{D4365AD1-7D00-42D7-8E47-6E306EC2F93A}" dt="2024-11-11T10:31:55.129" v="1795" actId="167"/>
        <pc:sldMkLst>
          <pc:docMk/>
          <pc:sldMk cId="3131708099" sldId="2134806597"/>
        </pc:sldMkLst>
        <pc:spChg chg="del">
          <ac:chgData name="Mohamed Ibissi" userId="90b6f8706c8cb808" providerId="LiveId" clId="{D4365AD1-7D00-42D7-8E47-6E306EC2F93A}" dt="2024-11-09T08:44:44.085" v="1484" actId="478"/>
          <ac:spMkLst>
            <pc:docMk/>
            <pc:sldMk cId="3131708099" sldId="2134806597"/>
            <ac:spMk id="2" creationId="{D52CE3DE-5498-7A20-0A6C-D0758944ECDB}"/>
          </ac:spMkLst>
        </pc:spChg>
        <pc:spChg chg="mod">
          <ac:chgData name="Mohamed Ibissi" userId="90b6f8706c8cb808" providerId="LiveId" clId="{D4365AD1-7D00-42D7-8E47-6E306EC2F93A}" dt="2024-11-09T06:20:22.505" v="683" actId="20577"/>
          <ac:spMkLst>
            <pc:docMk/>
            <pc:sldMk cId="3131708099" sldId="2134806597"/>
            <ac:spMk id="3" creationId="{32D0964C-B9B6-54A4-34E5-301474534CE0}"/>
          </ac:spMkLst>
        </pc:spChg>
        <pc:spChg chg="add mod">
          <ac:chgData name="Mohamed Ibissi" userId="90b6f8706c8cb808" providerId="LiveId" clId="{D4365AD1-7D00-42D7-8E47-6E306EC2F93A}" dt="2024-11-09T08:45:08.439" v="1488" actId="1076"/>
          <ac:spMkLst>
            <pc:docMk/>
            <pc:sldMk cId="3131708099" sldId="2134806597"/>
            <ac:spMk id="6" creationId="{FC3B4D51-247F-54CC-A31D-DEEE5DD3BC06}"/>
          </ac:spMkLst>
        </pc:spChg>
        <pc:spChg chg="add mod">
          <ac:chgData name="Mohamed Ibissi" userId="90b6f8706c8cb808" providerId="LiveId" clId="{D4365AD1-7D00-42D7-8E47-6E306EC2F93A}" dt="2024-11-09T08:44:45.102" v="1485"/>
          <ac:spMkLst>
            <pc:docMk/>
            <pc:sldMk cId="3131708099" sldId="2134806597"/>
            <ac:spMk id="7" creationId="{7355D834-5CB8-9CD0-BBA8-5BDE85095632}"/>
          </ac:spMkLst>
        </pc:spChg>
        <pc:graphicFrameChg chg="del">
          <ac:chgData name="Mohamed Ibissi" userId="90b6f8706c8cb808" providerId="LiveId" clId="{D4365AD1-7D00-42D7-8E47-6E306EC2F93A}" dt="2024-11-11T10:31:52.175" v="1793" actId="478"/>
          <ac:graphicFrameMkLst>
            <pc:docMk/>
            <pc:sldMk cId="3131708099" sldId="2134806597"/>
            <ac:graphicFrameMk id="4" creationId="{F9E50FA5-96B6-B4E0-3913-753274922722}"/>
          </ac:graphicFrameMkLst>
        </pc:graphicFrameChg>
        <pc:picChg chg="add mod ord">
          <ac:chgData name="Mohamed Ibissi" userId="90b6f8706c8cb808" providerId="LiveId" clId="{D4365AD1-7D00-42D7-8E47-6E306EC2F93A}" dt="2024-11-11T10:31:55.129" v="1795" actId="167"/>
          <ac:picMkLst>
            <pc:docMk/>
            <pc:sldMk cId="3131708099" sldId="2134806597"/>
            <ac:picMk id="2" creationId="{09976021-1AE3-8566-871F-FED05FDDA56F}"/>
          </ac:picMkLst>
        </pc:picChg>
      </pc:sldChg>
      <pc:sldChg chg="addSp delSp modSp add mod modAnim">
        <pc:chgData name="Mohamed Ibissi" userId="90b6f8706c8cb808" providerId="LiveId" clId="{D4365AD1-7D00-42D7-8E47-6E306EC2F93A}" dt="2024-11-11T17:09:45.087" v="2035" actId="1076"/>
        <pc:sldMkLst>
          <pc:docMk/>
          <pc:sldMk cId="1432504563" sldId="2134806598"/>
        </pc:sldMkLst>
        <pc:spChg chg="del">
          <ac:chgData name="Mohamed Ibissi" userId="90b6f8706c8cb808" providerId="LiveId" clId="{D4365AD1-7D00-42D7-8E47-6E306EC2F93A}" dt="2024-11-09T08:45:20.788" v="1489" actId="478"/>
          <ac:spMkLst>
            <pc:docMk/>
            <pc:sldMk cId="1432504563" sldId="2134806598"/>
            <ac:spMk id="2" creationId="{2C6F68BB-DFB6-28FC-3CB5-A7DC64E8F0DC}"/>
          </ac:spMkLst>
        </pc:spChg>
        <pc:spChg chg="mod">
          <ac:chgData name="Mohamed Ibissi" userId="90b6f8706c8cb808" providerId="LiveId" clId="{D4365AD1-7D00-42D7-8E47-6E306EC2F93A}" dt="2024-11-11T17:09:45.087" v="2035" actId="1076"/>
          <ac:spMkLst>
            <pc:docMk/>
            <pc:sldMk cId="1432504563" sldId="2134806598"/>
            <ac:spMk id="3" creationId="{69D6B485-B6C4-B419-39E6-6B6E7A902317}"/>
          </ac:spMkLst>
        </pc:spChg>
        <pc:spChg chg="del">
          <ac:chgData name="Mohamed Ibissi" userId="90b6f8706c8cb808" providerId="LiveId" clId="{D4365AD1-7D00-42D7-8E47-6E306EC2F93A}" dt="2024-11-09T08:45:20.788" v="1489" actId="478"/>
          <ac:spMkLst>
            <pc:docMk/>
            <pc:sldMk cId="1432504563" sldId="2134806598"/>
            <ac:spMk id="6" creationId="{A764161E-2B48-29D5-B035-10F15F2C4B1C}"/>
          </ac:spMkLst>
        </pc:spChg>
        <pc:spChg chg="add mod">
          <ac:chgData name="Mohamed Ibissi" userId="90b6f8706c8cb808" providerId="LiveId" clId="{D4365AD1-7D00-42D7-8E47-6E306EC2F93A}" dt="2024-11-09T08:45:21.507" v="1490"/>
          <ac:spMkLst>
            <pc:docMk/>
            <pc:sldMk cId="1432504563" sldId="2134806598"/>
            <ac:spMk id="7" creationId="{72CCFA37-060C-FBC9-2ADB-2C006E8FCC38}"/>
          </ac:spMkLst>
        </pc:spChg>
        <pc:spChg chg="add mod">
          <ac:chgData name="Mohamed Ibissi" userId="90b6f8706c8cb808" providerId="LiveId" clId="{D4365AD1-7D00-42D7-8E47-6E306EC2F93A}" dt="2024-11-09T08:45:21.507" v="1490"/>
          <ac:spMkLst>
            <pc:docMk/>
            <pc:sldMk cId="1432504563" sldId="2134806598"/>
            <ac:spMk id="8" creationId="{B78F4004-4BB0-3E84-CD5F-3EB19BE80FFE}"/>
          </ac:spMkLst>
        </pc:spChg>
        <pc:graphicFrameChg chg="del">
          <ac:chgData name="Mohamed Ibissi" userId="90b6f8706c8cb808" providerId="LiveId" clId="{D4365AD1-7D00-42D7-8E47-6E306EC2F93A}" dt="2024-11-11T10:31:59.819" v="1796" actId="478"/>
          <ac:graphicFrameMkLst>
            <pc:docMk/>
            <pc:sldMk cId="1432504563" sldId="2134806598"/>
            <ac:graphicFrameMk id="4" creationId="{80BBF937-04B0-BF2C-A6FE-6CE5216F07D1}"/>
          </ac:graphicFrameMkLst>
        </pc:graphicFrameChg>
        <pc:picChg chg="add mod ord">
          <ac:chgData name="Mohamed Ibissi" userId="90b6f8706c8cb808" providerId="LiveId" clId="{D4365AD1-7D00-42D7-8E47-6E306EC2F93A}" dt="2024-11-11T10:32:02.898" v="1798" actId="167"/>
          <ac:picMkLst>
            <pc:docMk/>
            <pc:sldMk cId="1432504563" sldId="2134806598"/>
            <ac:picMk id="2" creationId="{34469605-8F91-6351-036B-4356F753E26A}"/>
          </ac:picMkLst>
        </pc:picChg>
      </pc:sldChg>
      <pc:sldChg chg="addSp delSp modSp add mod ord">
        <pc:chgData name="Mohamed Ibissi" userId="90b6f8706c8cb808" providerId="LiveId" clId="{D4365AD1-7D00-42D7-8E47-6E306EC2F93A}" dt="2024-11-11T10:32:11.324" v="1801" actId="167"/>
        <pc:sldMkLst>
          <pc:docMk/>
          <pc:sldMk cId="2567300093" sldId="2134806599"/>
        </pc:sldMkLst>
        <pc:spChg chg="mod">
          <ac:chgData name="Mohamed Ibissi" userId="90b6f8706c8cb808" providerId="LiveId" clId="{D4365AD1-7D00-42D7-8E47-6E306EC2F93A}" dt="2024-11-09T06:24:03.777" v="717" actId="20577"/>
          <ac:spMkLst>
            <pc:docMk/>
            <pc:sldMk cId="2567300093" sldId="2134806599"/>
            <ac:spMk id="2" creationId="{C8A9F3F5-AE20-31AB-097D-B2397ADEEF57}"/>
          </ac:spMkLst>
        </pc:spChg>
        <pc:graphicFrameChg chg="del">
          <ac:chgData name="Mohamed Ibissi" userId="90b6f8706c8cb808" providerId="LiveId" clId="{D4365AD1-7D00-42D7-8E47-6E306EC2F93A}" dt="2024-11-11T10:32:08.056" v="1799" actId="478"/>
          <ac:graphicFrameMkLst>
            <pc:docMk/>
            <pc:sldMk cId="2567300093" sldId="2134806599"/>
            <ac:graphicFrameMk id="7" creationId="{39FA2106-E901-6300-044C-10FCE7528058}"/>
          </ac:graphicFrameMkLst>
        </pc:graphicFrameChg>
        <pc:picChg chg="add mod ord">
          <ac:chgData name="Mohamed Ibissi" userId="90b6f8706c8cb808" providerId="LiveId" clId="{D4365AD1-7D00-42D7-8E47-6E306EC2F93A}" dt="2024-11-11T10:32:11.324" v="1801" actId="167"/>
          <ac:picMkLst>
            <pc:docMk/>
            <pc:sldMk cId="2567300093" sldId="2134806599"/>
            <ac:picMk id="3" creationId="{B04D945E-3A0E-FE81-0372-1D48A85F06BC}"/>
          </ac:picMkLst>
        </pc:picChg>
        <pc:picChg chg="mod">
          <ac:chgData name="Mohamed Ibissi" userId="90b6f8706c8cb808" providerId="LiveId" clId="{D4365AD1-7D00-42D7-8E47-6E306EC2F93A}" dt="2024-11-09T06:24:38.519" v="718" actId="14826"/>
          <ac:picMkLst>
            <pc:docMk/>
            <pc:sldMk cId="2567300093" sldId="2134806599"/>
            <ac:picMk id="8" creationId="{7363A7AC-28A7-DD2D-27EF-7CDCBD11E5D1}"/>
          </ac:picMkLst>
        </pc:picChg>
      </pc:sldChg>
      <pc:sldChg chg="addSp delSp modSp add mod">
        <pc:chgData name="Mohamed Ibissi" userId="90b6f8706c8cb808" providerId="LiveId" clId="{D4365AD1-7D00-42D7-8E47-6E306EC2F93A}" dt="2024-11-11T10:32:20.454" v="1804" actId="167"/>
        <pc:sldMkLst>
          <pc:docMk/>
          <pc:sldMk cId="161042347" sldId="2134806600"/>
        </pc:sldMkLst>
        <pc:spChg chg="mod">
          <ac:chgData name="Mohamed Ibissi" userId="90b6f8706c8cb808" providerId="LiveId" clId="{D4365AD1-7D00-42D7-8E47-6E306EC2F93A}" dt="2024-11-09T06:28:41.661" v="769" actId="20577"/>
          <ac:spMkLst>
            <pc:docMk/>
            <pc:sldMk cId="161042347" sldId="2134806600"/>
            <ac:spMk id="2" creationId="{3BB5D9F5-3802-0634-FB8B-CF69D7EFD182}"/>
          </ac:spMkLst>
        </pc:spChg>
        <pc:spChg chg="add mod">
          <ac:chgData name="Mohamed Ibissi" userId="90b6f8706c8cb808" providerId="LiveId" clId="{D4365AD1-7D00-42D7-8E47-6E306EC2F93A}" dt="2024-11-09T06:25:22.701" v="725" actId="1076"/>
          <ac:spMkLst>
            <pc:docMk/>
            <pc:sldMk cId="161042347" sldId="2134806600"/>
            <ac:spMk id="3" creationId="{F6B95496-A4C8-62B2-5254-54544781C774}"/>
          </ac:spMkLst>
        </pc:spChg>
        <pc:spChg chg="mod">
          <ac:chgData name="Mohamed Ibissi" userId="90b6f8706c8cb808" providerId="LiveId" clId="{D4365AD1-7D00-42D7-8E47-6E306EC2F93A}" dt="2024-11-09T06:25:11.195" v="723" actId="14100"/>
          <ac:spMkLst>
            <pc:docMk/>
            <pc:sldMk cId="161042347" sldId="2134806600"/>
            <ac:spMk id="4" creationId="{36290ED1-5F21-BB78-CFF9-D6BD548E3645}"/>
          </ac:spMkLst>
        </pc:spChg>
        <pc:graphicFrameChg chg="del">
          <ac:chgData name="Mohamed Ibissi" userId="90b6f8706c8cb808" providerId="LiveId" clId="{D4365AD1-7D00-42D7-8E47-6E306EC2F93A}" dt="2024-11-11T10:32:16.984" v="1802" actId="478"/>
          <ac:graphicFrameMkLst>
            <pc:docMk/>
            <pc:sldMk cId="161042347" sldId="2134806600"/>
            <ac:graphicFrameMk id="7" creationId="{D8CE1E5F-A353-7996-9D2B-99396F4D00C5}"/>
          </ac:graphicFrameMkLst>
        </pc:graphicFrameChg>
        <pc:picChg chg="add mod ord">
          <ac:chgData name="Mohamed Ibissi" userId="90b6f8706c8cb808" providerId="LiveId" clId="{D4365AD1-7D00-42D7-8E47-6E306EC2F93A}" dt="2024-11-11T10:32:20.454" v="1804" actId="167"/>
          <ac:picMkLst>
            <pc:docMk/>
            <pc:sldMk cId="161042347" sldId="2134806600"/>
            <ac:picMk id="5" creationId="{2F6C1047-59AD-3B82-3168-1CF144F014EC}"/>
          </ac:picMkLst>
        </pc:picChg>
      </pc:sldChg>
      <pc:sldChg chg="addSp delSp modSp add mod ord">
        <pc:chgData name="Mohamed Ibissi" userId="90b6f8706c8cb808" providerId="LiveId" clId="{D4365AD1-7D00-42D7-8E47-6E306EC2F93A}" dt="2024-11-11T10:32:29.318" v="1807" actId="167"/>
        <pc:sldMkLst>
          <pc:docMk/>
          <pc:sldMk cId="3698259618" sldId="2134806601"/>
        </pc:sldMkLst>
        <pc:graphicFrameChg chg="del">
          <ac:chgData name="Mohamed Ibissi" userId="90b6f8706c8cb808" providerId="LiveId" clId="{D4365AD1-7D00-42D7-8E47-6E306EC2F93A}" dt="2024-11-11T10:32:25.816" v="1805" actId="478"/>
          <ac:graphicFrameMkLst>
            <pc:docMk/>
            <pc:sldMk cId="3698259618" sldId="2134806601"/>
            <ac:graphicFrameMk id="4" creationId="{520667CC-3042-2FBC-52D2-BF24998AD589}"/>
          </ac:graphicFrameMkLst>
        </pc:graphicFrameChg>
        <pc:picChg chg="add mod ord">
          <ac:chgData name="Mohamed Ibissi" userId="90b6f8706c8cb808" providerId="LiveId" clId="{D4365AD1-7D00-42D7-8E47-6E306EC2F93A}" dt="2024-11-11T10:32:29.318" v="1807" actId="167"/>
          <ac:picMkLst>
            <pc:docMk/>
            <pc:sldMk cId="3698259618" sldId="2134806601"/>
            <ac:picMk id="5" creationId="{86A20E58-B220-B0BD-7537-4EF956177DD3}"/>
          </ac:picMkLst>
        </pc:picChg>
      </pc:sldChg>
      <pc:sldChg chg="add del">
        <pc:chgData name="Mohamed Ibissi" userId="90b6f8706c8cb808" providerId="LiveId" clId="{D4365AD1-7D00-42D7-8E47-6E306EC2F93A}" dt="2024-11-09T06:27:21.294" v="727" actId="2890"/>
        <pc:sldMkLst>
          <pc:docMk/>
          <pc:sldMk cId="3756654737" sldId="2134806601"/>
        </pc:sldMkLst>
      </pc:sldChg>
      <pc:sldChg chg="add del replId">
        <pc:chgData name="Mohamed Ibissi" userId="90b6f8706c8cb808" providerId="LiveId" clId="{D4365AD1-7D00-42D7-8E47-6E306EC2F93A}" dt="2024-11-09T06:27:21.294" v="727" actId="2890"/>
        <pc:sldMkLst>
          <pc:docMk/>
          <pc:sldMk cId="1339756012" sldId="2134806602"/>
        </pc:sldMkLst>
      </pc:sldChg>
      <pc:sldChg chg="addSp delSp modSp add mod ord replId">
        <pc:chgData name="Mohamed Ibissi" userId="90b6f8706c8cb808" providerId="LiveId" clId="{D4365AD1-7D00-42D7-8E47-6E306EC2F93A}" dt="2024-11-11T10:32:39.665" v="1810" actId="167"/>
        <pc:sldMkLst>
          <pc:docMk/>
          <pc:sldMk cId="1730859043" sldId="2134806602"/>
        </pc:sldMkLst>
        <pc:graphicFrameChg chg="del">
          <ac:chgData name="Mohamed Ibissi" userId="90b6f8706c8cb808" providerId="LiveId" clId="{D4365AD1-7D00-42D7-8E47-6E306EC2F93A}" dt="2024-11-11T10:32:36.101" v="1808" actId="478"/>
          <ac:graphicFrameMkLst>
            <pc:docMk/>
            <pc:sldMk cId="1730859043" sldId="2134806602"/>
            <ac:graphicFrameMk id="4" creationId="{DF062F57-A4DD-8D32-7A88-FA1617888927}"/>
          </ac:graphicFrameMkLst>
        </pc:graphicFrameChg>
        <pc:picChg chg="add mod ord">
          <ac:chgData name="Mohamed Ibissi" userId="90b6f8706c8cb808" providerId="LiveId" clId="{D4365AD1-7D00-42D7-8E47-6E306EC2F93A}" dt="2024-11-11T10:32:39.665" v="1810" actId="167"/>
          <ac:picMkLst>
            <pc:docMk/>
            <pc:sldMk cId="1730859043" sldId="2134806602"/>
            <ac:picMk id="3" creationId="{6441949E-FF2D-A599-0772-B5690224AFB7}"/>
          </ac:picMkLst>
        </pc:picChg>
      </pc:sldChg>
      <pc:sldChg chg="addSp delSp modSp add mod ord replId">
        <pc:chgData name="Mohamed Ibissi" userId="90b6f8706c8cb808" providerId="LiveId" clId="{D4365AD1-7D00-42D7-8E47-6E306EC2F93A}" dt="2024-11-11T10:33:01.409" v="1813" actId="167"/>
        <pc:sldMkLst>
          <pc:docMk/>
          <pc:sldMk cId="1627125855" sldId="2134806603"/>
        </pc:sldMkLst>
        <pc:graphicFrameChg chg="del">
          <ac:chgData name="Mohamed Ibissi" userId="90b6f8706c8cb808" providerId="LiveId" clId="{D4365AD1-7D00-42D7-8E47-6E306EC2F93A}" dt="2024-11-11T10:32:58.158" v="1811" actId="478"/>
          <ac:graphicFrameMkLst>
            <pc:docMk/>
            <pc:sldMk cId="1627125855" sldId="2134806603"/>
            <ac:graphicFrameMk id="4" creationId="{EBF17BC5-8FF1-4776-B6E4-C99D3A784A31}"/>
          </ac:graphicFrameMkLst>
        </pc:graphicFrameChg>
        <pc:picChg chg="add mod ord">
          <ac:chgData name="Mohamed Ibissi" userId="90b6f8706c8cb808" providerId="LiveId" clId="{D4365AD1-7D00-42D7-8E47-6E306EC2F93A}" dt="2024-11-11T10:33:01.409" v="1813" actId="167"/>
          <ac:picMkLst>
            <pc:docMk/>
            <pc:sldMk cId="1627125855" sldId="2134806603"/>
            <ac:picMk id="5" creationId="{0376D42B-ED1A-5D89-FA60-5A64371F5CC1}"/>
          </ac:picMkLst>
        </pc:picChg>
      </pc:sldChg>
      <pc:sldChg chg="add del replId">
        <pc:chgData name="Mohamed Ibissi" userId="90b6f8706c8cb808" providerId="LiveId" clId="{D4365AD1-7D00-42D7-8E47-6E306EC2F93A}" dt="2024-11-09T06:27:21.294" v="727" actId="2890"/>
        <pc:sldMkLst>
          <pc:docMk/>
          <pc:sldMk cId="4277451061" sldId="2134806603"/>
        </pc:sldMkLst>
      </pc:sldChg>
      <pc:sldChg chg="addSp delSp modSp add mod ord delAnim modAnim">
        <pc:chgData name="Mohamed Ibissi" userId="90b6f8706c8cb808" providerId="LiveId" clId="{D4365AD1-7D00-42D7-8E47-6E306EC2F93A}" dt="2024-11-11T10:33:08.850" v="1816" actId="167"/>
        <pc:sldMkLst>
          <pc:docMk/>
          <pc:sldMk cId="747686193" sldId="2134806604"/>
        </pc:sldMkLst>
        <pc:spChg chg="del">
          <ac:chgData name="Mohamed Ibissi" userId="90b6f8706c8cb808" providerId="LiveId" clId="{D4365AD1-7D00-42D7-8E47-6E306EC2F93A}" dt="2024-11-09T06:30:05.706" v="776" actId="478"/>
          <ac:spMkLst>
            <pc:docMk/>
            <pc:sldMk cId="747686193" sldId="2134806604"/>
            <ac:spMk id="2" creationId="{23A897AB-28DF-B3F0-F56D-2F9420AD078D}"/>
          </ac:spMkLst>
        </pc:spChg>
        <pc:spChg chg="del">
          <ac:chgData name="Mohamed Ibissi" userId="90b6f8706c8cb808" providerId="LiveId" clId="{D4365AD1-7D00-42D7-8E47-6E306EC2F93A}" dt="2024-11-09T06:30:05.706" v="776" actId="478"/>
          <ac:spMkLst>
            <pc:docMk/>
            <pc:sldMk cId="747686193" sldId="2134806604"/>
            <ac:spMk id="6" creationId="{2278B9E6-EB8A-E141-13D9-457C9D576D04}"/>
          </ac:spMkLst>
        </pc:spChg>
        <pc:spChg chg="del">
          <ac:chgData name="Mohamed Ibissi" userId="90b6f8706c8cb808" providerId="LiveId" clId="{D4365AD1-7D00-42D7-8E47-6E306EC2F93A}" dt="2024-11-09T06:30:05.706" v="776" actId="478"/>
          <ac:spMkLst>
            <pc:docMk/>
            <pc:sldMk cId="747686193" sldId="2134806604"/>
            <ac:spMk id="7" creationId="{6CCE11AF-4F34-9133-76BB-772830DFBA62}"/>
          </ac:spMkLst>
        </pc:spChg>
        <pc:spChg chg="add mod">
          <ac:chgData name="Mohamed Ibissi" userId="90b6f8706c8cb808" providerId="LiveId" clId="{D4365AD1-7D00-42D7-8E47-6E306EC2F93A}" dt="2024-11-09T06:30:35.794" v="779"/>
          <ac:spMkLst>
            <pc:docMk/>
            <pc:sldMk cId="747686193" sldId="2134806604"/>
            <ac:spMk id="10" creationId="{7FCF6EE9-2CED-9A48-05EB-4180A93DDD13}"/>
          </ac:spMkLst>
        </pc:spChg>
        <pc:graphicFrameChg chg="del">
          <ac:chgData name="Mohamed Ibissi" userId="90b6f8706c8cb808" providerId="LiveId" clId="{D4365AD1-7D00-42D7-8E47-6E306EC2F93A}" dt="2024-11-11T10:33:05.959" v="1814" actId="478"/>
          <ac:graphicFrameMkLst>
            <pc:docMk/>
            <pc:sldMk cId="747686193" sldId="2134806604"/>
            <ac:graphicFrameMk id="4" creationId="{DF2BCB11-B038-BE6D-B2CF-C66BD2CCC517}"/>
          </ac:graphicFrameMkLst>
        </pc:graphicFrameChg>
        <pc:picChg chg="add mod ord">
          <ac:chgData name="Mohamed Ibissi" userId="90b6f8706c8cb808" providerId="LiveId" clId="{D4365AD1-7D00-42D7-8E47-6E306EC2F93A}" dt="2024-11-11T10:33:08.850" v="1816" actId="167"/>
          <ac:picMkLst>
            <pc:docMk/>
            <pc:sldMk cId="747686193" sldId="2134806604"/>
            <ac:picMk id="2" creationId="{AE22D9AA-7B53-C327-0C0C-C47EB5707E10}"/>
          </ac:picMkLst>
        </pc:picChg>
        <pc:picChg chg="del">
          <ac:chgData name="Mohamed Ibissi" userId="90b6f8706c8cb808" providerId="LiveId" clId="{D4365AD1-7D00-42D7-8E47-6E306EC2F93A}" dt="2024-11-09T06:30:14.179" v="777" actId="478"/>
          <ac:picMkLst>
            <pc:docMk/>
            <pc:sldMk cId="747686193" sldId="2134806604"/>
            <ac:picMk id="5" creationId="{9F3623CA-1AC8-81FE-9DA7-B02F6932D076}"/>
          </ac:picMkLst>
        </pc:picChg>
        <pc:picChg chg="add mod">
          <ac:chgData name="Mohamed Ibissi" userId="90b6f8706c8cb808" providerId="LiveId" clId="{D4365AD1-7D00-42D7-8E47-6E306EC2F93A}" dt="2024-11-09T06:34:55.154" v="821" actId="14826"/>
          <ac:picMkLst>
            <pc:docMk/>
            <pc:sldMk cId="747686193" sldId="2134806604"/>
            <ac:picMk id="8" creationId="{448D78E0-4C8E-7848-6C72-9905451AF3C0}"/>
          </ac:picMkLst>
        </pc:picChg>
        <pc:picChg chg="add mod">
          <ac:chgData name="Mohamed Ibissi" userId="90b6f8706c8cb808" providerId="LiveId" clId="{D4365AD1-7D00-42D7-8E47-6E306EC2F93A}" dt="2024-11-09T06:35:01.360" v="822" actId="14100"/>
          <ac:picMkLst>
            <pc:docMk/>
            <pc:sldMk cId="747686193" sldId="2134806604"/>
            <ac:picMk id="11" creationId="{9F78B546-26CA-4B06-94FC-DAD9BB0B69F1}"/>
          </ac:picMkLst>
        </pc:picChg>
      </pc:sldChg>
      <pc:sldChg chg="add del replId">
        <pc:chgData name="Mohamed Ibissi" userId="90b6f8706c8cb808" providerId="LiveId" clId="{D4365AD1-7D00-42D7-8E47-6E306EC2F93A}" dt="2024-11-09T06:27:21.294" v="727" actId="2890"/>
        <pc:sldMkLst>
          <pc:docMk/>
          <pc:sldMk cId="3520418020" sldId="2134806604"/>
        </pc:sldMkLst>
      </pc:sldChg>
      <pc:sldChg chg="addSp delSp modSp add mod ord modAnim">
        <pc:chgData name="Mohamed Ibissi" userId="90b6f8706c8cb808" providerId="LiveId" clId="{D4365AD1-7D00-42D7-8E47-6E306EC2F93A}" dt="2024-11-11T10:33:16.760" v="1819" actId="167"/>
        <pc:sldMkLst>
          <pc:docMk/>
          <pc:sldMk cId="1709510636" sldId="2134806605"/>
        </pc:sldMkLst>
        <pc:spChg chg="mod">
          <ac:chgData name="Mohamed Ibissi" userId="90b6f8706c8cb808" providerId="LiveId" clId="{D4365AD1-7D00-42D7-8E47-6E306EC2F93A}" dt="2024-11-09T06:32:46.193" v="797" actId="20577"/>
          <ac:spMkLst>
            <pc:docMk/>
            <pc:sldMk cId="1709510636" sldId="2134806605"/>
            <ac:spMk id="2" creationId="{57484EE8-EC27-B738-6C8C-97E52BA593EA}"/>
          </ac:spMkLst>
        </pc:spChg>
        <pc:spChg chg="mod">
          <ac:chgData name="Mohamed Ibissi" userId="90b6f8706c8cb808" providerId="LiveId" clId="{D4365AD1-7D00-42D7-8E47-6E306EC2F93A}" dt="2024-11-09T06:32:41.316" v="796" actId="1076"/>
          <ac:spMkLst>
            <pc:docMk/>
            <pc:sldMk cId="1709510636" sldId="2134806605"/>
            <ac:spMk id="3" creationId="{52A3F609-7F80-DC0F-4908-6508F609F99D}"/>
          </ac:spMkLst>
        </pc:spChg>
        <pc:spChg chg="mod">
          <ac:chgData name="Mohamed Ibissi" userId="90b6f8706c8cb808" providerId="LiveId" clId="{D4365AD1-7D00-42D7-8E47-6E306EC2F93A}" dt="2024-11-09T06:32:36.408" v="795" actId="1076"/>
          <ac:spMkLst>
            <pc:docMk/>
            <pc:sldMk cId="1709510636" sldId="2134806605"/>
            <ac:spMk id="4" creationId="{D752E6FA-F113-E6DC-D351-134C5A8394CA}"/>
          </ac:spMkLst>
        </pc:spChg>
        <pc:graphicFrameChg chg="del">
          <ac:chgData name="Mohamed Ibissi" userId="90b6f8706c8cb808" providerId="LiveId" clId="{D4365AD1-7D00-42D7-8E47-6E306EC2F93A}" dt="2024-11-11T10:33:13.961" v="1817" actId="478"/>
          <ac:graphicFrameMkLst>
            <pc:docMk/>
            <pc:sldMk cId="1709510636" sldId="2134806605"/>
            <ac:graphicFrameMk id="7" creationId="{0E42813D-9074-0F0C-FE9A-7DFFD1EB19F0}"/>
          </ac:graphicFrameMkLst>
        </pc:graphicFrameChg>
        <pc:picChg chg="add mod">
          <ac:chgData name="Mohamed Ibissi" userId="90b6f8706c8cb808" providerId="LiveId" clId="{D4365AD1-7D00-42D7-8E47-6E306EC2F93A}" dt="2024-11-09T06:35:17.005" v="824"/>
          <ac:picMkLst>
            <pc:docMk/>
            <pc:sldMk cId="1709510636" sldId="2134806605"/>
            <ac:picMk id="5" creationId="{A41FAE49-13DE-09BA-3FDA-FDB47F98C09A}"/>
          </ac:picMkLst>
        </pc:picChg>
        <pc:picChg chg="mod">
          <ac:chgData name="Mohamed Ibissi" userId="90b6f8706c8cb808" providerId="LiveId" clId="{D4365AD1-7D00-42D7-8E47-6E306EC2F93A}" dt="2024-11-09T06:35:06.642" v="823" actId="14826"/>
          <ac:picMkLst>
            <pc:docMk/>
            <pc:sldMk cId="1709510636" sldId="2134806605"/>
            <ac:picMk id="8" creationId="{5ED673AA-4B37-7DE2-5865-1CA53210B154}"/>
          </ac:picMkLst>
        </pc:picChg>
        <pc:picChg chg="add mod ord">
          <ac:chgData name="Mohamed Ibissi" userId="90b6f8706c8cb808" providerId="LiveId" clId="{D4365AD1-7D00-42D7-8E47-6E306EC2F93A}" dt="2024-11-11T10:33:16.760" v="1819" actId="167"/>
          <ac:picMkLst>
            <pc:docMk/>
            <pc:sldMk cId="1709510636" sldId="2134806605"/>
            <ac:picMk id="9" creationId="{C078C59C-95E0-BBF4-FF86-7EAFBBA8B69B}"/>
          </ac:picMkLst>
        </pc:picChg>
      </pc:sldChg>
      <pc:sldChg chg="addSp delSp modSp add mod ord">
        <pc:chgData name="Mohamed Ibissi" userId="90b6f8706c8cb808" providerId="LiveId" clId="{D4365AD1-7D00-42D7-8E47-6E306EC2F93A}" dt="2024-11-11T10:33:24.641" v="1822" actId="167"/>
        <pc:sldMkLst>
          <pc:docMk/>
          <pc:sldMk cId="3590970086" sldId="2134806606"/>
        </pc:sldMkLst>
        <pc:graphicFrameChg chg="del">
          <ac:chgData name="Mohamed Ibissi" userId="90b6f8706c8cb808" providerId="LiveId" clId="{D4365AD1-7D00-42D7-8E47-6E306EC2F93A}" dt="2024-11-11T10:33:21.951" v="1820" actId="478"/>
          <ac:graphicFrameMkLst>
            <pc:docMk/>
            <pc:sldMk cId="3590970086" sldId="2134806606"/>
            <ac:graphicFrameMk id="4" creationId="{BF9A7A6F-DFCB-C845-2237-718F871CD76A}"/>
          </ac:graphicFrameMkLst>
        </pc:graphicFrameChg>
        <pc:picChg chg="add mod ord">
          <ac:chgData name="Mohamed Ibissi" userId="90b6f8706c8cb808" providerId="LiveId" clId="{D4365AD1-7D00-42D7-8E47-6E306EC2F93A}" dt="2024-11-11T10:33:24.641" v="1822" actId="167"/>
          <ac:picMkLst>
            <pc:docMk/>
            <pc:sldMk cId="3590970086" sldId="2134806606"/>
            <ac:picMk id="5" creationId="{BCAE5B52-A85A-A193-C44D-3AE4634ED9B0}"/>
          </ac:picMkLst>
        </pc:picChg>
      </pc:sldChg>
      <pc:sldChg chg="addSp delSp modSp add mod ord replId">
        <pc:chgData name="Mohamed Ibissi" userId="90b6f8706c8cb808" providerId="LiveId" clId="{D4365AD1-7D00-42D7-8E47-6E306EC2F93A}" dt="2024-11-11T10:33:35.895" v="1825" actId="167"/>
        <pc:sldMkLst>
          <pc:docMk/>
          <pc:sldMk cId="3968106039" sldId="2134806607"/>
        </pc:sldMkLst>
        <pc:graphicFrameChg chg="del">
          <ac:chgData name="Mohamed Ibissi" userId="90b6f8706c8cb808" providerId="LiveId" clId="{D4365AD1-7D00-42D7-8E47-6E306EC2F93A}" dt="2024-11-11T10:33:33.035" v="1823" actId="478"/>
          <ac:graphicFrameMkLst>
            <pc:docMk/>
            <pc:sldMk cId="3968106039" sldId="2134806607"/>
            <ac:graphicFrameMk id="4" creationId="{AD1CFB9F-5E6E-0C09-85B7-361E9F0F0421}"/>
          </ac:graphicFrameMkLst>
        </pc:graphicFrameChg>
        <pc:picChg chg="add mod ord">
          <ac:chgData name="Mohamed Ibissi" userId="90b6f8706c8cb808" providerId="LiveId" clId="{D4365AD1-7D00-42D7-8E47-6E306EC2F93A}" dt="2024-11-11T10:33:35.895" v="1825" actId="167"/>
          <ac:picMkLst>
            <pc:docMk/>
            <pc:sldMk cId="3968106039" sldId="2134806607"/>
            <ac:picMk id="3" creationId="{4AE38C13-C212-90B5-DC90-EDCC0E461D16}"/>
          </ac:picMkLst>
        </pc:picChg>
      </pc:sldChg>
      <pc:sldChg chg="addSp delSp modSp add mod ord replId">
        <pc:chgData name="Mohamed Ibissi" userId="90b6f8706c8cb808" providerId="LiveId" clId="{D4365AD1-7D00-42D7-8E47-6E306EC2F93A}" dt="2024-11-11T10:33:43.431" v="1828" actId="167"/>
        <pc:sldMkLst>
          <pc:docMk/>
          <pc:sldMk cId="322751592" sldId="2134806608"/>
        </pc:sldMkLst>
        <pc:graphicFrameChg chg="del">
          <ac:chgData name="Mohamed Ibissi" userId="90b6f8706c8cb808" providerId="LiveId" clId="{D4365AD1-7D00-42D7-8E47-6E306EC2F93A}" dt="2024-11-11T10:33:40.367" v="1826" actId="478"/>
          <ac:graphicFrameMkLst>
            <pc:docMk/>
            <pc:sldMk cId="322751592" sldId="2134806608"/>
            <ac:graphicFrameMk id="4" creationId="{24BFDF4E-17BE-6449-91C4-680B6BFD9791}"/>
          </ac:graphicFrameMkLst>
        </pc:graphicFrameChg>
        <pc:picChg chg="add mod ord">
          <ac:chgData name="Mohamed Ibissi" userId="90b6f8706c8cb808" providerId="LiveId" clId="{D4365AD1-7D00-42D7-8E47-6E306EC2F93A}" dt="2024-11-11T10:33:43.431" v="1828" actId="167"/>
          <ac:picMkLst>
            <pc:docMk/>
            <pc:sldMk cId="322751592" sldId="2134806608"/>
            <ac:picMk id="5" creationId="{0537A78C-533C-73D3-8A42-9FEEE1F3986A}"/>
          </ac:picMkLst>
        </pc:picChg>
      </pc:sldChg>
      <pc:sldChg chg="addSp delSp modSp add mod ord modAnim">
        <pc:chgData name="Mohamed Ibissi" userId="90b6f8706c8cb808" providerId="LiveId" clId="{D4365AD1-7D00-42D7-8E47-6E306EC2F93A}" dt="2024-11-11T10:33:53.592" v="1831" actId="167"/>
        <pc:sldMkLst>
          <pc:docMk/>
          <pc:sldMk cId="1924826847" sldId="2134806609"/>
        </pc:sldMkLst>
        <pc:spChg chg="mod">
          <ac:chgData name="Mohamed Ibissi" userId="90b6f8706c8cb808" providerId="LiveId" clId="{D4365AD1-7D00-42D7-8E47-6E306EC2F93A}" dt="2024-11-09T08:47:05.527" v="1500" actId="1038"/>
          <ac:spMkLst>
            <pc:docMk/>
            <pc:sldMk cId="1924826847" sldId="2134806609"/>
            <ac:spMk id="10" creationId="{4F4A9412-563F-0E4A-6862-EDE44B3FC992}"/>
          </ac:spMkLst>
        </pc:spChg>
        <pc:graphicFrameChg chg="del">
          <ac:chgData name="Mohamed Ibissi" userId="90b6f8706c8cb808" providerId="LiveId" clId="{D4365AD1-7D00-42D7-8E47-6E306EC2F93A}" dt="2024-11-11T10:33:51.108" v="1829" actId="478"/>
          <ac:graphicFrameMkLst>
            <pc:docMk/>
            <pc:sldMk cId="1924826847" sldId="2134806609"/>
            <ac:graphicFrameMk id="4" creationId="{D7B498D6-6008-496A-454D-BF4763182B11}"/>
          </ac:graphicFrameMkLst>
        </pc:graphicFrameChg>
        <pc:picChg chg="add mod">
          <ac:chgData name="Mohamed Ibissi" userId="90b6f8706c8cb808" providerId="LiveId" clId="{D4365AD1-7D00-42D7-8E47-6E306EC2F93A}" dt="2024-11-09T06:33:58.379" v="817" actId="1036"/>
          <ac:picMkLst>
            <pc:docMk/>
            <pc:sldMk cId="1924826847" sldId="2134806609"/>
            <ac:picMk id="2" creationId="{FB640F8B-C717-CB36-04B6-3C89C2CFCABE}"/>
          </ac:picMkLst>
        </pc:picChg>
        <pc:picChg chg="add mod">
          <ac:chgData name="Mohamed Ibissi" userId="90b6f8706c8cb808" providerId="LiveId" clId="{D4365AD1-7D00-42D7-8E47-6E306EC2F93A}" dt="2024-11-09T06:33:58.379" v="817" actId="1036"/>
          <ac:picMkLst>
            <pc:docMk/>
            <pc:sldMk cId="1924826847" sldId="2134806609"/>
            <ac:picMk id="5" creationId="{3BAE144B-35D3-4091-1ABF-72318A1781B1}"/>
          </ac:picMkLst>
        </pc:picChg>
        <pc:picChg chg="add mod ord">
          <ac:chgData name="Mohamed Ibissi" userId="90b6f8706c8cb808" providerId="LiveId" clId="{D4365AD1-7D00-42D7-8E47-6E306EC2F93A}" dt="2024-11-11T10:33:53.592" v="1831" actId="167"/>
          <ac:picMkLst>
            <pc:docMk/>
            <pc:sldMk cId="1924826847" sldId="2134806609"/>
            <ac:picMk id="6" creationId="{69C94A87-B26A-93B3-18C3-7124B36761A2}"/>
          </ac:picMkLst>
        </pc:picChg>
        <pc:picChg chg="mod">
          <ac:chgData name="Mohamed Ibissi" userId="90b6f8706c8cb808" providerId="LiveId" clId="{D4365AD1-7D00-42D7-8E47-6E306EC2F93A}" dt="2024-11-09T06:34:24.471" v="818" actId="14826"/>
          <ac:picMkLst>
            <pc:docMk/>
            <pc:sldMk cId="1924826847" sldId="2134806609"/>
            <ac:picMk id="8" creationId="{4C4D8B19-A813-DC47-E8BB-59925E806051}"/>
          </ac:picMkLst>
        </pc:picChg>
        <pc:picChg chg="mod">
          <ac:chgData name="Mohamed Ibissi" userId="90b6f8706c8cb808" providerId="LiveId" clId="{D4365AD1-7D00-42D7-8E47-6E306EC2F93A}" dt="2024-11-09T06:34:34.708" v="820" actId="1035"/>
          <ac:picMkLst>
            <pc:docMk/>
            <pc:sldMk cId="1924826847" sldId="2134806609"/>
            <ac:picMk id="11" creationId="{E23C353F-4340-F673-4DA3-419C592EDAE6}"/>
          </ac:picMkLst>
        </pc:picChg>
      </pc:sldChg>
      <pc:sldChg chg="addSp delSp modSp add mod modAnim">
        <pc:chgData name="Mohamed Ibissi" userId="90b6f8706c8cb808" providerId="LiveId" clId="{D4365AD1-7D00-42D7-8E47-6E306EC2F93A}" dt="2024-11-12T10:56:24.194" v="2056" actId="14100"/>
        <pc:sldMkLst>
          <pc:docMk/>
          <pc:sldMk cId="2180611796" sldId="2134806610"/>
        </pc:sldMkLst>
        <pc:spChg chg="mod">
          <ac:chgData name="Mohamed Ibissi" userId="90b6f8706c8cb808" providerId="LiveId" clId="{D4365AD1-7D00-42D7-8E47-6E306EC2F93A}" dt="2024-11-09T07:00:05.485" v="904" actId="20577"/>
          <ac:spMkLst>
            <pc:docMk/>
            <pc:sldMk cId="2180611796" sldId="2134806610"/>
            <ac:spMk id="3" creationId="{51DEBADA-184F-6CDA-BC8F-C8E8491E453A}"/>
          </ac:spMkLst>
        </pc:spChg>
        <pc:spChg chg="add mod">
          <ac:chgData name="Mohamed Ibissi" userId="90b6f8706c8cb808" providerId="LiveId" clId="{D4365AD1-7D00-42D7-8E47-6E306EC2F93A}" dt="2024-11-09T07:00:23.854" v="905"/>
          <ac:spMkLst>
            <pc:docMk/>
            <pc:sldMk cId="2180611796" sldId="2134806610"/>
            <ac:spMk id="6" creationId="{CBBE92EB-B40E-CE47-8680-1CE6ADE33420}"/>
          </ac:spMkLst>
        </pc:spChg>
        <pc:spChg chg="del">
          <ac:chgData name="Mohamed Ibissi" userId="90b6f8706c8cb808" providerId="LiveId" clId="{D4365AD1-7D00-42D7-8E47-6E306EC2F93A}" dt="2024-11-09T07:01:20.935" v="910" actId="478"/>
          <ac:spMkLst>
            <pc:docMk/>
            <pc:sldMk cId="2180611796" sldId="2134806610"/>
            <ac:spMk id="10" creationId="{4BCDBA64-2D36-E767-2E19-FE93D294A480}"/>
          </ac:spMkLst>
        </pc:spChg>
        <pc:graphicFrameChg chg="del">
          <ac:chgData name="Mohamed Ibissi" userId="90b6f8706c8cb808" providerId="LiveId" clId="{D4365AD1-7D00-42D7-8E47-6E306EC2F93A}" dt="2024-11-11T10:34:13.893" v="1835" actId="478"/>
          <ac:graphicFrameMkLst>
            <pc:docMk/>
            <pc:sldMk cId="2180611796" sldId="2134806610"/>
            <ac:graphicFrameMk id="4" creationId="{06F69896-37B0-159C-1774-F8D7D60BCDB1}"/>
          </ac:graphicFrameMkLst>
        </pc:graphicFrameChg>
        <pc:picChg chg="mod">
          <ac:chgData name="Mohamed Ibissi" userId="90b6f8706c8cb808" providerId="LiveId" clId="{D4365AD1-7D00-42D7-8E47-6E306EC2F93A}" dt="2024-11-12T10:56:24.194" v="2056" actId="14100"/>
          <ac:picMkLst>
            <pc:docMk/>
            <pc:sldMk cId="2180611796" sldId="2134806610"/>
            <ac:picMk id="2" creationId="{95E9A98D-BDCF-37DD-E0FC-B70788A2EDD3}"/>
          </ac:picMkLst>
        </pc:picChg>
        <pc:picChg chg="add mod">
          <ac:chgData name="Mohamed Ibissi" userId="90b6f8706c8cb808" providerId="LiveId" clId="{D4365AD1-7D00-42D7-8E47-6E306EC2F93A}" dt="2024-11-09T07:00:23.854" v="905"/>
          <ac:picMkLst>
            <pc:docMk/>
            <pc:sldMk cId="2180611796" sldId="2134806610"/>
            <ac:picMk id="8" creationId="{614B3E2E-3D59-FC78-8BF0-3F5A0CF837C6}"/>
          </ac:picMkLst>
        </pc:picChg>
        <pc:picChg chg="add mod ord">
          <ac:chgData name="Mohamed Ibissi" userId="90b6f8706c8cb808" providerId="LiveId" clId="{D4365AD1-7D00-42D7-8E47-6E306EC2F93A}" dt="2024-11-11T10:34:17.363" v="1837" actId="167"/>
          <ac:picMkLst>
            <pc:docMk/>
            <pc:sldMk cId="2180611796" sldId="2134806610"/>
            <ac:picMk id="9" creationId="{7F8AA381-B8AF-C13B-799B-4757DB68A00F}"/>
          </ac:picMkLst>
        </pc:picChg>
      </pc:sldChg>
      <pc:sldChg chg="addSp delSp modSp add mod modAnim">
        <pc:chgData name="Mohamed Ibissi" userId="90b6f8706c8cb808" providerId="LiveId" clId="{D4365AD1-7D00-42D7-8E47-6E306EC2F93A}" dt="2024-11-12T10:56:30.477" v="2057" actId="14100"/>
        <pc:sldMkLst>
          <pc:docMk/>
          <pc:sldMk cId="3978500129" sldId="2134806611"/>
        </pc:sldMkLst>
        <pc:spChg chg="mod">
          <ac:chgData name="Mohamed Ibissi" userId="90b6f8706c8cb808" providerId="LiveId" clId="{D4365AD1-7D00-42D7-8E47-6E306EC2F93A}" dt="2024-11-09T07:03:12.606" v="915" actId="1035"/>
          <ac:spMkLst>
            <pc:docMk/>
            <pc:sldMk cId="3978500129" sldId="2134806611"/>
            <ac:spMk id="3" creationId="{9DCEEFBD-A816-1BFA-DDC0-D8DA392DE3C5}"/>
          </ac:spMkLst>
        </pc:spChg>
        <pc:spChg chg="mod">
          <ac:chgData name="Mohamed Ibissi" userId="90b6f8706c8cb808" providerId="LiveId" clId="{D4365AD1-7D00-42D7-8E47-6E306EC2F93A}" dt="2024-11-09T07:04:37.522" v="917" actId="1076"/>
          <ac:spMkLst>
            <pc:docMk/>
            <pc:sldMk cId="3978500129" sldId="2134806611"/>
            <ac:spMk id="6" creationId="{18A32118-BE5F-E898-480D-4BB021565D5A}"/>
          </ac:spMkLst>
        </pc:spChg>
        <pc:spChg chg="del">
          <ac:chgData name="Mohamed Ibissi" userId="90b6f8706c8cb808" providerId="LiveId" clId="{D4365AD1-7D00-42D7-8E47-6E306EC2F93A}" dt="2024-11-09T07:01:25.096" v="911" actId="478"/>
          <ac:spMkLst>
            <pc:docMk/>
            <pc:sldMk cId="3978500129" sldId="2134806611"/>
            <ac:spMk id="10" creationId="{14F9CB83-D3EA-CBF2-19E7-88BC9658437A}"/>
          </ac:spMkLst>
        </pc:spChg>
        <pc:graphicFrameChg chg="del">
          <ac:chgData name="Mohamed Ibissi" userId="90b6f8706c8cb808" providerId="LiveId" clId="{D4365AD1-7D00-42D7-8E47-6E306EC2F93A}" dt="2024-11-11T10:34:25.478" v="1838" actId="478"/>
          <ac:graphicFrameMkLst>
            <pc:docMk/>
            <pc:sldMk cId="3978500129" sldId="2134806611"/>
            <ac:graphicFrameMk id="4" creationId="{68609A6B-A729-AF37-3C10-550EA52BACCA}"/>
          </ac:graphicFrameMkLst>
        </pc:graphicFrameChg>
        <pc:picChg chg="mod">
          <ac:chgData name="Mohamed Ibissi" userId="90b6f8706c8cb808" providerId="LiveId" clId="{D4365AD1-7D00-42D7-8E47-6E306EC2F93A}" dt="2024-11-12T10:56:30.477" v="2057" actId="14100"/>
          <ac:picMkLst>
            <pc:docMk/>
            <pc:sldMk cId="3978500129" sldId="2134806611"/>
            <ac:picMk id="2" creationId="{66B8F2B1-7265-7050-BE3C-F03F37F69B54}"/>
          </ac:picMkLst>
        </pc:picChg>
        <pc:picChg chg="add mod">
          <ac:chgData name="Mohamed Ibissi" userId="90b6f8706c8cb808" providerId="LiveId" clId="{D4365AD1-7D00-42D7-8E47-6E306EC2F93A}" dt="2024-11-09T07:05:00.510" v="918"/>
          <ac:picMkLst>
            <pc:docMk/>
            <pc:sldMk cId="3978500129" sldId="2134806611"/>
            <ac:picMk id="9" creationId="{C8AC0851-B3A1-7730-4F09-B3CC8282529E}"/>
          </ac:picMkLst>
        </pc:picChg>
        <pc:picChg chg="add mod ord">
          <ac:chgData name="Mohamed Ibissi" userId="90b6f8706c8cb808" providerId="LiveId" clId="{D4365AD1-7D00-42D7-8E47-6E306EC2F93A}" dt="2024-11-11T10:34:28.447" v="1840" actId="167"/>
          <ac:picMkLst>
            <pc:docMk/>
            <pc:sldMk cId="3978500129" sldId="2134806611"/>
            <ac:picMk id="10" creationId="{D2E2DAD3-9764-BE2B-EA40-42D4FCA99F3C}"/>
          </ac:picMkLst>
        </pc:picChg>
      </pc:sldChg>
      <pc:sldChg chg="addSp delSp modSp add mod delAnim">
        <pc:chgData name="Mohamed Ibissi" userId="90b6f8706c8cb808" providerId="LiveId" clId="{D4365AD1-7D00-42D7-8E47-6E306EC2F93A}" dt="2024-11-12T10:56:42.137" v="2059" actId="14100"/>
        <pc:sldMkLst>
          <pc:docMk/>
          <pc:sldMk cId="1474517608" sldId="2134806612"/>
        </pc:sldMkLst>
        <pc:spChg chg="mod">
          <ac:chgData name="Mohamed Ibissi" userId="90b6f8706c8cb808" providerId="LiveId" clId="{D4365AD1-7D00-42D7-8E47-6E306EC2F93A}" dt="2024-11-09T07:10:28.943" v="981" actId="1035"/>
          <ac:spMkLst>
            <pc:docMk/>
            <pc:sldMk cId="1474517608" sldId="2134806612"/>
            <ac:spMk id="3" creationId="{DCF3EA99-1149-E86E-DC3D-86D323964DD2}"/>
          </ac:spMkLst>
        </pc:spChg>
        <pc:spChg chg="del">
          <ac:chgData name="Mohamed Ibissi" userId="90b6f8706c8cb808" providerId="LiveId" clId="{D4365AD1-7D00-42D7-8E47-6E306EC2F93A}" dt="2024-11-09T07:10:56.828" v="985" actId="478"/>
          <ac:spMkLst>
            <pc:docMk/>
            <pc:sldMk cId="1474517608" sldId="2134806612"/>
            <ac:spMk id="6" creationId="{38F0724D-38D3-5D36-7B43-46E7193A6415}"/>
          </ac:spMkLst>
        </pc:spChg>
        <pc:spChg chg="del">
          <ac:chgData name="Mohamed Ibissi" userId="90b6f8706c8cb808" providerId="LiveId" clId="{D4365AD1-7D00-42D7-8E47-6E306EC2F93A}" dt="2024-11-09T07:10:51.122" v="983" actId="478"/>
          <ac:spMkLst>
            <pc:docMk/>
            <pc:sldMk cId="1474517608" sldId="2134806612"/>
            <ac:spMk id="7" creationId="{5294F527-F26E-609F-EA19-2D26FFAA5E21}"/>
          </ac:spMkLst>
        </pc:spChg>
        <pc:spChg chg="add mod">
          <ac:chgData name="Mohamed Ibissi" userId="90b6f8706c8cb808" providerId="LiveId" clId="{D4365AD1-7D00-42D7-8E47-6E306EC2F93A}" dt="2024-11-12T10:56:42.137" v="2059" actId="14100"/>
          <ac:spMkLst>
            <pc:docMk/>
            <pc:sldMk cId="1474517608" sldId="2134806612"/>
            <ac:spMk id="11" creationId="{3AF67FE6-C28B-61C7-1D66-0B7B4205ACBE}"/>
          </ac:spMkLst>
        </pc:spChg>
        <pc:spChg chg="add del mod">
          <ac:chgData name="Mohamed Ibissi" userId="90b6f8706c8cb808" providerId="LiveId" clId="{D4365AD1-7D00-42D7-8E47-6E306EC2F93A}" dt="2024-11-09T07:11:19.702" v="988" actId="478"/>
          <ac:spMkLst>
            <pc:docMk/>
            <pc:sldMk cId="1474517608" sldId="2134806612"/>
            <ac:spMk id="14" creationId="{EF1E0F2C-4BBB-0BAA-3D3D-83FA62620CB1}"/>
          </ac:spMkLst>
        </pc:spChg>
        <pc:graphicFrameChg chg="del">
          <ac:chgData name="Mohamed Ibissi" userId="90b6f8706c8cb808" providerId="LiveId" clId="{D4365AD1-7D00-42D7-8E47-6E306EC2F93A}" dt="2024-11-11T10:34:33.107" v="1841" actId="478"/>
          <ac:graphicFrameMkLst>
            <pc:docMk/>
            <pc:sldMk cId="1474517608" sldId="2134806612"/>
            <ac:graphicFrameMk id="4" creationId="{EFB9AFC3-2DFD-3AB7-F02C-92DDF8733FA6}"/>
          </ac:graphicFrameMkLst>
        </pc:graphicFrameChg>
        <pc:picChg chg="add mod ord">
          <ac:chgData name="Mohamed Ibissi" userId="90b6f8706c8cb808" providerId="LiveId" clId="{D4365AD1-7D00-42D7-8E47-6E306EC2F93A}" dt="2024-11-11T10:34:36.107" v="1843" actId="167"/>
          <ac:picMkLst>
            <pc:docMk/>
            <pc:sldMk cId="1474517608" sldId="2134806612"/>
            <ac:picMk id="2" creationId="{11CA4EDB-B361-4C40-1BCC-F4F3E7B70CB1}"/>
          </ac:picMkLst>
        </pc:picChg>
        <pc:picChg chg="del">
          <ac:chgData name="Mohamed Ibissi" userId="90b6f8706c8cb808" providerId="LiveId" clId="{D4365AD1-7D00-42D7-8E47-6E306EC2F93A}" dt="2024-11-09T07:10:54.123" v="984" actId="478"/>
          <ac:picMkLst>
            <pc:docMk/>
            <pc:sldMk cId="1474517608" sldId="2134806612"/>
            <ac:picMk id="2" creationId="{7BFC0416-1E5E-28EC-B7BF-F4DE49E6621E}"/>
          </ac:picMkLst>
        </pc:picChg>
        <pc:picChg chg="add mod">
          <ac:chgData name="Mohamed Ibissi" userId="90b6f8706c8cb808" providerId="LiveId" clId="{D4365AD1-7D00-42D7-8E47-6E306EC2F93A}" dt="2024-11-12T10:55:13.640" v="2046"/>
          <ac:picMkLst>
            <pc:docMk/>
            <pc:sldMk cId="1474517608" sldId="2134806612"/>
            <ac:picMk id="4" creationId="{222EAF6A-299A-A525-D74E-737D3FDDC87D}"/>
          </ac:picMkLst>
        </pc:picChg>
        <pc:picChg chg="del">
          <ac:chgData name="Mohamed Ibissi" userId="90b6f8706c8cb808" providerId="LiveId" clId="{D4365AD1-7D00-42D7-8E47-6E306EC2F93A}" dt="2024-11-12T10:55:13.078" v="2045" actId="478"/>
          <ac:picMkLst>
            <pc:docMk/>
            <pc:sldMk cId="1474517608" sldId="2134806612"/>
            <ac:picMk id="5" creationId="{DC44259B-8B93-4782-E9D9-889F57A8C88F}"/>
          </ac:picMkLst>
        </pc:picChg>
        <pc:picChg chg="del">
          <ac:chgData name="Mohamed Ibissi" userId="90b6f8706c8cb808" providerId="LiveId" clId="{D4365AD1-7D00-42D7-8E47-6E306EC2F93A}" dt="2024-11-09T07:10:58.813" v="986" actId="478"/>
          <ac:picMkLst>
            <pc:docMk/>
            <pc:sldMk cId="1474517608" sldId="2134806612"/>
            <ac:picMk id="8" creationId="{D63EEAA4-9ED1-432C-193A-B809349B73F4}"/>
          </ac:picMkLst>
        </pc:picChg>
        <pc:picChg chg="del">
          <ac:chgData name="Mohamed Ibissi" userId="90b6f8706c8cb808" providerId="LiveId" clId="{D4365AD1-7D00-42D7-8E47-6E306EC2F93A}" dt="2024-11-09T07:10:47.197" v="982" actId="478"/>
          <ac:picMkLst>
            <pc:docMk/>
            <pc:sldMk cId="1474517608" sldId="2134806612"/>
            <ac:picMk id="9" creationId="{A992638E-E373-2DFA-58E1-8941382A8B24}"/>
          </ac:picMkLst>
        </pc:picChg>
        <pc:picChg chg="add mod">
          <ac:chgData name="Mohamed Ibissi" userId="90b6f8706c8cb808" providerId="LiveId" clId="{D4365AD1-7D00-42D7-8E47-6E306EC2F93A}" dt="2024-11-12T10:56:38.323" v="2058" actId="14100"/>
          <ac:picMkLst>
            <pc:docMk/>
            <pc:sldMk cId="1474517608" sldId="2134806612"/>
            <ac:picMk id="10" creationId="{F4BD9D02-4AF1-CD2C-3923-F6CAE52E4EE7}"/>
          </ac:picMkLst>
        </pc:picChg>
        <pc:picChg chg="add mod">
          <ac:chgData name="Mohamed Ibissi" userId="90b6f8706c8cb808" providerId="LiveId" clId="{D4365AD1-7D00-42D7-8E47-6E306EC2F93A}" dt="2024-11-09T07:11:10.335" v="987"/>
          <ac:picMkLst>
            <pc:docMk/>
            <pc:sldMk cId="1474517608" sldId="2134806612"/>
            <ac:picMk id="12" creationId="{9FD05663-FDA2-D37B-9D02-F4A8BF94D716}"/>
          </ac:picMkLst>
        </pc:picChg>
        <pc:picChg chg="add mod">
          <ac:chgData name="Mohamed Ibissi" userId="90b6f8706c8cb808" providerId="LiveId" clId="{D4365AD1-7D00-42D7-8E47-6E306EC2F93A}" dt="2024-11-09T07:11:10.335" v="987"/>
          <ac:picMkLst>
            <pc:docMk/>
            <pc:sldMk cId="1474517608" sldId="2134806612"/>
            <ac:picMk id="13" creationId="{A26B4A13-974E-3088-6EFB-6CD189B79146}"/>
          </ac:picMkLst>
        </pc:picChg>
      </pc:sldChg>
      <pc:sldChg chg="addSp delSp modSp add mod">
        <pc:chgData name="Mohamed Ibissi" userId="90b6f8706c8cb808" providerId="LiveId" clId="{D4365AD1-7D00-42D7-8E47-6E306EC2F93A}" dt="2024-11-12T14:35:48.856" v="2137" actId="20577"/>
        <pc:sldMkLst>
          <pc:docMk/>
          <pc:sldMk cId="319560384" sldId="2134806613"/>
        </pc:sldMkLst>
        <pc:spChg chg="add mod">
          <ac:chgData name="Mohamed Ibissi" userId="90b6f8706c8cb808" providerId="LiveId" clId="{D4365AD1-7D00-42D7-8E47-6E306EC2F93A}" dt="2024-11-09T07:12:16.243" v="1003" actId="1076"/>
          <ac:spMkLst>
            <pc:docMk/>
            <pc:sldMk cId="319560384" sldId="2134806613"/>
            <ac:spMk id="2" creationId="{E3287BD5-C6CA-F963-5CE5-9DBB1C2199BE}"/>
          </ac:spMkLst>
        </pc:spChg>
        <pc:spChg chg="mod">
          <ac:chgData name="Mohamed Ibissi" userId="90b6f8706c8cb808" providerId="LiveId" clId="{D4365AD1-7D00-42D7-8E47-6E306EC2F93A}" dt="2024-11-12T14:35:48.856" v="2137" actId="20577"/>
          <ac:spMkLst>
            <pc:docMk/>
            <pc:sldMk cId="319560384" sldId="2134806613"/>
            <ac:spMk id="3" creationId="{A5882628-4CD1-336F-567A-9CA7C6240979}"/>
          </ac:spMkLst>
        </pc:spChg>
        <pc:spChg chg="mod">
          <ac:chgData name="Mohamed Ibissi" userId="90b6f8706c8cb808" providerId="LiveId" clId="{D4365AD1-7D00-42D7-8E47-6E306EC2F93A}" dt="2024-11-09T07:12:00.668" v="1001" actId="14100"/>
          <ac:spMkLst>
            <pc:docMk/>
            <pc:sldMk cId="319560384" sldId="2134806613"/>
            <ac:spMk id="11" creationId="{8983D232-9F6D-EF83-FC78-D37B313F2897}"/>
          </ac:spMkLst>
        </pc:spChg>
        <pc:graphicFrameChg chg="del">
          <ac:chgData name="Mohamed Ibissi" userId="90b6f8706c8cb808" providerId="LiveId" clId="{D4365AD1-7D00-42D7-8E47-6E306EC2F93A}" dt="2024-11-11T10:34:43.064" v="1844" actId="478"/>
          <ac:graphicFrameMkLst>
            <pc:docMk/>
            <pc:sldMk cId="319560384" sldId="2134806613"/>
            <ac:graphicFrameMk id="4" creationId="{06ACFDF9-8C36-2A25-6775-7D64EF713D8E}"/>
          </ac:graphicFrameMkLst>
        </pc:graphicFrameChg>
        <pc:picChg chg="add mod">
          <ac:chgData name="Mohamed Ibissi" userId="90b6f8706c8cb808" providerId="LiveId" clId="{D4365AD1-7D00-42D7-8E47-6E306EC2F93A}" dt="2024-11-12T10:55:21.114" v="2048"/>
          <ac:picMkLst>
            <pc:docMk/>
            <pc:sldMk cId="319560384" sldId="2134806613"/>
            <ac:picMk id="4" creationId="{1B4C47C5-0706-EFBD-EF62-703355CB3DE6}"/>
          </ac:picMkLst>
        </pc:picChg>
        <pc:picChg chg="del">
          <ac:chgData name="Mohamed Ibissi" userId="90b6f8706c8cb808" providerId="LiveId" clId="{D4365AD1-7D00-42D7-8E47-6E306EC2F93A}" dt="2024-11-12T10:55:20.614" v="2047" actId="478"/>
          <ac:picMkLst>
            <pc:docMk/>
            <pc:sldMk cId="319560384" sldId="2134806613"/>
            <ac:picMk id="5" creationId="{9566E12F-FC1F-08A7-9184-19C33834C091}"/>
          </ac:picMkLst>
        </pc:picChg>
        <pc:picChg chg="add mod ord">
          <ac:chgData name="Mohamed Ibissi" userId="90b6f8706c8cb808" providerId="LiveId" clId="{D4365AD1-7D00-42D7-8E47-6E306EC2F93A}" dt="2024-11-11T10:34:46.002" v="1846" actId="167"/>
          <ac:picMkLst>
            <pc:docMk/>
            <pc:sldMk cId="319560384" sldId="2134806613"/>
            <ac:picMk id="6" creationId="{CF6B0009-2325-2EEA-EC8A-A0F3BC56CEB1}"/>
          </ac:picMkLst>
        </pc:picChg>
        <pc:picChg chg="mod">
          <ac:chgData name="Mohamed Ibissi" userId="90b6f8706c8cb808" providerId="LiveId" clId="{D4365AD1-7D00-42D7-8E47-6E306EC2F93A}" dt="2024-11-12T10:56:52.691" v="2060" actId="14100"/>
          <ac:picMkLst>
            <pc:docMk/>
            <pc:sldMk cId="319560384" sldId="2134806613"/>
            <ac:picMk id="10" creationId="{BA06459D-8AD4-7EDF-60AB-AD6DA5295119}"/>
          </ac:picMkLst>
        </pc:picChg>
      </pc:sldChg>
      <pc:sldChg chg="addSp delSp modSp add del mod ord">
        <pc:chgData name="Mohamed Ibissi" userId="90b6f8706c8cb808" providerId="LiveId" clId="{D4365AD1-7D00-42D7-8E47-6E306EC2F93A}" dt="2024-11-12T14:45:23.719" v="2151" actId="47"/>
        <pc:sldMkLst>
          <pc:docMk/>
          <pc:sldMk cId="2757146453" sldId="2134806614"/>
        </pc:sldMkLst>
        <pc:graphicFrameChg chg="del">
          <ac:chgData name="Mohamed Ibissi" userId="90b6f8706c8cb808" providerId="LiveId" clId="{D4365AD1-7D00-42D7-8E47-6E306EC2F93A}" dt="2024-11-11T10:34:51.226" v="1847" actId="478"/>
          <ac:graphicFrameMkLst>
            <pc:docMk/>
            <pc:sldMk cId="2757146453" sldId="2134806614"/>
            <ac:graphicFrameMk id="4" creationId="{34F5BC71-EA81-C33D-8CD0-CFEF5C32228C}"/>
          </ac:graphicFrameMkLst>
        </pc:graphicFrameChg>
        <pc:picChg chg="add mod ord">
          <ac:chgData name="Mohamed Ibissi" userId="90b6f8706c8cb808" providerId="LiveId" clId="{D4365AD1-7D00-42D7-8E47-6E306EC2F93A}" dt="2024-11-11T10:34:54.291" v="1849" actId="167"/>
          <ac:picMkLst>
            <pc:docMk/>
            <pc:sldMk cId="2757146453" sldId="2134806614"/>
            <ac:picMk id="5" creationId="{111B336C-EF11-DE21-B0EB-FCB8E86DC614}"/>
          </ac:picMkLst>
        </pc:picChg>
      </pc:sldChg>
      <pc:sldChg chg="addSp delSp modSp add mod ord delAnim modAnim">
        <pc:chgData name="Mohamed Ibissi" userId="90b6f8706c8cb808" providerId="LiveId" clId="{D4365AD1-7D00-42D7-8E47-6E306EC2F93A}" dt="2024-11-12T10:57:45.561" v="2068" actId="1037"/>
        <pc:sldMkLst>
          <pc:docMk/>
          <pc:sldMk cId="145184079" sldId="2134806615"/>
        </pc:sldMkLst>
        <pc:spChg chg="del">
          <ac:chgData name="Mohamed Ibissi" userId="90b6f8706c8cb808" providerId="LiveId" clId="{D4365AD1-7D00-42D7-8E47-6E306EC2F93A}" dt="2024-11-09T07:14:05.475" v="1011" actId="478"/>
          <ac:spMkLst>
            <pc:docMk/>
            <pc:sldMk cId="145184079" sldId="2134806615"/>
            <ac:spMk id="10" creationId="{A261A25A-102E-81E1-EED3-698717BE305C}"/>
          </ac:spMkLst>
        </pc:spChg>
        <pc:graphicFrameChg chg="del">
          <ac:chgData name="Mohamed Ibissi" userId="90b6f8706c8cb808" providerId="LiveId" clId="{D4365AD1-7D00-42D7-8E47-6E306EC2F93A}" dt="2024-11-11T10:35:02.092" v="1850" actId="478"/>
          <ac:graphicFrameMkLst>
            <pc:docMk/>
            <pc:sldMk cId="145184079" sldId="2134806615"/>
            <ac:graphicFrameMk id="4" creationId="{312FFC04-93D2-3A9C-9D6F-5B6CD14504EA}"/>
          </ac:graphicFrameMkLst>
        </pc:graphicFrameChg>
        <pc:picChg chg="del">
          <ac:chgData name="Mohamed Ibissi" userId="90b6f8706c8cb808" providerId="LiveId" clId="{D4365AD1-7D00-42D7-8E47-6E306EC2F93A}" dt="2024-11-09T07:14:05.475" v="1011" actId="478"/>
          <ac:picMkLst>
            <pc:docMk/>
            <pc:sldMk cId="145184079" sldId="2134806615"/>
            <ac:picMk id="2" creationId="{94CB510D-5F77-F19F-9371-FE3176F08D4F}"/>
          </ac:picMkLst>
        </pc:picChg>
        <pc:picChg chg="add mod ord">
          <ac:chgData name="Mohamed Ibissi" userId="90b6f8706c8cb808" providerId="LiveId" clId="{D4365AD1-7D00-42D7-8E47-6E306EC2F93A}" dt="2024-11-11T10:35:05.751" v="1852" actId="167"/>
          <ac:picMkLst>
            <pc:docMk/>
            <pc:sldMk cId="145184079" sldId="2134806615"/>
            <ac:picMk id="2" creationId="{CF261792-A673-F477-DB4C-9CC29AC3FE72}"/>
          </ac:picMkLst>
        </pc:picChg>
        <pc:picChg chg="del">
          <ac:chgData name="Mohamed Ibissi" userId="90b6f8706c8cb808" providerId="LiveId" clId="{D4365AD1-7D00-42D7-8E47-6E306EC2F93A}" dt="2024-11-09T07:14:05.475" v="1011" actId="478"/>
          <ac:picMkLst>
            <pc:docMk/>
            <pc:sldMk cId="145184079" sldId="2134806615"/>
            <ac:picMk id="5" creationId="{D4DD5D04-4B69-BCAD-DD22-3E2D68624548}"/>
          </ac:picMkLst>
        </pc:picChg>
        <pc:picChg chg="add mod">
          <ac:chgData name="Mohamed Ibissi" userId="90b6f8706c8cb808" providerId="LiveId" clId="{D4365AD1-7D00-42D7-8E47-6E306EC2F93A}" dt="2024-11-12T10:54:09.741" v="2044" actId="14100"/>
          <ac:picMkLst>
            <pc:docMk/>
            <pc:sldMk cId="145184079" sldId="2134806615"/>
            <ac:picMk id="6" creationId="{51651941-7236-EEAB-C696-8BE32D04027F}"/>
          </ac:picMkLst>
        </pc:picChg>
        <pc:picChg chg="add mod">
          <ac:chgData name="Mohamed Ibissi" userId="90b6f8706c8cb808" providerId="LiveId" clId="{D4365AD1-7D00-42D7-8E47-6E306EC2F93A}" dt="2024-11-12T10:55:56.961" v="2054" actId="1037"/>
          <ac:picMkLst>
            <pc:docMk/>
            <pc:sldMk cId="145184079" sldId="2134806615"/>
            <ac:picMk id="7" creationId="{F44E2A91-6434-CA01-B0CE-91BCD5A207FE}"/>
          </ac:picMkLst>
        </pc:picChg>
        <pc:picChg chg="del">
          <ac:chgData name="Mohamed Ibissi" userId="90b6f8706c8cb808" providerId="LiveId" clId="{D4365AD1-7D00-42D7-8E47-6E306EC2F93A}" dt="2024-11-09T07:14:05.475" v="1011" actId="478"/>
          <ac:picMkLst>
            <pc:docMk/>
            <pc:sldMk cId="145184079" sldId="2134806615"/>
            <ac:picMk id="8" creationId="{D2352B83-2FF0-4CA1-558F-3FAD5CAA82B6}"/>
          </ac:picMkLst>
        </pc:picChg>
        <pc:picChg chg="del">
          <ac:chgData name="Mohamed Ibissi" userId="90b6f8706c8cb808" providerId="LiveId" clId="{D4365AD1-7D00-42D7-8E47-6E306EC2F93A}" dt="2024-11-09T07:14:05.475" v="1011" actId="478"/>
          <ac:picMkLst>
            <pc:docMk/>
            <pc:sldMk cId="145184079" sldId="2134806615"/>
            <ac:picMk id="11" creationId="{16468318-8AB6-3ADB-7481-D67BB3B2A587}"/>
          </ac:picMkLst>
        </pc:picChg>
        <pc:picChg chg="add mod">
          <ac:chgData name="Mohamed Ibissi" userId="90b6f8706c8cb808" providerId="LiveId" clId="{D4365AD1-7D00-42D7-8E47-6E306EC2F93A}" dt="2024-11-12T10:57:45.561" v="2068" actId="1037"/>
          <ac:picMkLst>
            <pc:docMk/>
            <pc:sldMk cId="145184079" sldId="2134806615"/>
            <ac:picMk id="12" creationId="{5F3678AB-B861-8B64-018E-85F93B67E5E9}"/>
          </ac:picMkLst>
        </pc:picChg>
        <pc:picChg chg="add mod">
          <ac:chgData name="Mohamed Ibissi" userId="90b6f8706c8cb808" providerId="LiveId" clId="{D4365AD1-7D00-42D7-8E47-6E306EC2F93A}" dt="2024-11-12T10:57:45.561" v="2068" actId="1037"/>
          <ac:picMkLst>
            <pc:docMk/>
            <pc:sldMk cId="145184079" sldId="2134806615"/>
            <ac:picMk id="13" creationId="{065EB655-9F56-F30D-B213-F33677E76C08}"/>
          </ac:picMkLst>
        </pc:picChg>
      </pc:sldChg>
      <pc:sldChg chg="addSp delSp modSp add mod modAnim">
        <pc:chgData name="Mohamed Ibissi" userId="90b6f8706c8cb808" providerId="LiveId" clId="{D4365AD1-7D00-42D7-8E47-6E306EC2F93A}" dt="2024-11-11T10:36:10.476" v="1861" actId="167"/>
        <pc:sldMkLst>
          <pc:docMk/>
          <pc:sldMk cId="3487308513" sldId="2134806616"/>
        </pc:sldMkLst>
        <pc:spChg chg="mod">
          <ac:chgData name="Mohamed Ibissi" userId="90b6f8706c8cb808" providerId="LiveId" clId="{D4365AD1-7D00-42D7-8E47-6E306EC2F93A}" dt="2024-11-09T07:23:04.774" v="1030" actId="1076"/>
          <ac:spMkLst>
            <pc:docMk/>
            <pc:sldMk cId="3487308513" sldId="2134806616"/>
            <ac:spMk id="8" creationId="{D3898ADB-2ADE-11B0-5942-35277D5B5EBB}"/>
          </ac:spMkLst>
        </pc:spChg>
        <pc:spChg chg="del">
          <ac:chgData name="Mohamed Ibissi" userId="90b6f8706c8cb808" providerId="LiveId" clId="{D4365AD1-7D00-42D7-8E47-6E306EC2F93A}" dt="2024-11-09T07:22:34.592" v="1026" actId="478"/>
          <ac:spMkLst>
            <pc:docMk/>
            <pc:sldMk cId="3487308513" sldId="2134806616"/>
            <ac:spMk id="10" creationId="{5F690306-D637-33EE-8476-8B0EDEE89DA6}"/>
          </ac:spMkLst>
        </pc:spChg>
        <pc:graphicFrameChg chg="del">
          <ac:chgData name="Mohamed Ibissi" userId="90b6f8706c8cb808" providerId="LiveId" clId="{D4365AD1-7D00-42D7-8E47-6E306EC2F93A}" dt="2024-11-11T10:36:06.959" v="1859" actId="478"/>
          <ac:graphicFrameMkLst>
            <pc:docMk/>
            <pc:sldMk cId="3487308513" sldId="2134806616"/>
            <ac:graphicFrameMk id="4" creationId="{36F179AF-8D62-B59D-F1FA-6DEF30D16ECB}"/>
          </ac:graphicFrameMkLst>
        </pc:graphicFrameChg>
        <pc:picChg chg="add mod">
          <ac:chgData name="Mohamed Ibissi" userId="90b6f8706c8cb808" providerId="LiveId" clId="{D4365AD1-7D00-42D7-8E47-6E306EC2F93A}" dt="2024-11-09T07:24:01.611" v="1034"/>
          <ac:picMkLst>
            <pc:docMk/>
            <pc:sldMk cId="3487308513" sldId="2134806616"/>
            <ac:picMk id="2" creationId="{59A00757-E278-F155-2513-7D764A47EFB4}"/>
          </ac:picMkLst>
        </pc:picChg>
        <pc:picChg chg="add mod ord">
          <ac:chgData name="Mohamed Ibissi" userId="90b6f8706c8cb808" providerId="LiveId" clId="{D4365AD1-7D00-42D7-8E47-6E306EC2F93A}" dt="2024-11-11T10:36:10.476" v="1861" actId="167"/>
          <ac:picMkLst>
            <pc:docMk/>
            <pc:sldMk cId="3487308513" sldId="2134806616"/>
            <ac:picMk id="3" creationId="{1021A1B7-0E8D-8A0A-D59C-A4A13AE7AD9C}"/>
          </ac:picMkLst>
        </pc:picChg>
        <pc:picChg chg="mod">
          <ac:chgData name="Mohamed Ibissi" userId="90b6f8706c8cb808" providerId="LiveId" clId="{D4365AD1-7D00-42D7-8E47-6E306EC2F93A}" dt="2024-11-09T07:23:36.200" v="1033" actId="14826"/>
          <ac:picMkLst>
            <pc:docMk/>
            <pc:sldMk cId="3487308513" sldId="2134806616"/>
            <ac:picMk id="5" creationId="{8D07461D-3803-6D34-C75F-2FD0E364A581}"/>
          </ac:picMkLst>
        </pc:picChg>
      </pc:sldChg>
      <pc:sldChg chg="addSp delSp modSp add mod modAnim">
        <pc:chgData name="Mohamed Ibissi" userId="90b6f8706c8cb808" providerId="LiveId" clId="{D4365AD1-7D00-42D7-8E47-6E306EC2F93A}" dt="2024-11-11T10:36:32.114" v="1864" actId="167"/>
        <pc:sldMkLst>
          <pc:docMk/>
          <pc:sldMk cId="223812509" sldId="2134806617"/>
        </pc:sldMkLst>
        <pc:spChg chg="mod">
          <ac:chgData name="Mohamed Ibissi" userId="90b6f8706c8cb808" providerId="LiveId" clId="{D4365AD1-7D00-42D7-8E47-6E306EC2F93A}" dt="2024-11-09T07:25:14.873" v="1040" actId="113"/>
          <ac:spMkLst>
            <pc:docMk/>
            <pc:sldMk cId="223812509" sldId="2134806617"/>
            <ac:spMk id="8" creationId="{3B51BC48-2900-528A-776B-8FD7BE33C02A}"/>
          </ac:spMkLst>
        </pc:spChg>
        <pc:graphicFrameChg chg="del">
          <ac:chgData name="Mohamed Ibissi" userId="90b6f8706c8cb808" providerId="LiveId" clId="{D4365AD1-7D00-42D7-8E47-6E306EC2F93A}" dt="2024-11-11T10:36:28.767" v="1862" actId="478"/>
          <ac:graphicFrameMkLst>
            <pc:docMk/>
            <pc:sldMk cId="223812509" sldId="2134806617"/>
            <ac:graphicFrameMk id="4" creationId="{B042B06F-2DAE-35B2-C367-FE6CB6266FE7}"/>
          </ac:graphicFrameMkLst>
        </pc:graphicFrameChg>
        <pc:picChg chg="add mod">
          <ac:chgData name="Mohamed Ibissi" userId="90b6f8706c8cb808" providerId="LiveId" clId="{D4365AD1-7D00-42D7-8E47-6E306EC2F93A}" dt="2024-11-09T07:25:25.988" v="1041"/>
          <ac:picMkLst>
            <pc:docMk/>
            <pc:sldMk cId="223812509" sldId="2134806617"/>
            <ac:picMk id="3" creationId="{23D2F320-C8C3-8C08-6D65-51922CAC6094}"/>
          </ac:picMkLst>
        </pc:picChg>
        <pc:picChg chg="add mod ord">
          <ac:chgData name="Mohamed Ibissi" userId="90b6f8706c8cb808" providerId="LiveId" clId="{D4365AD1-7D00-42D7-8E47-6E306EC2F93A}" dt="2024-11-11T10:36:32.114" v="1864" actId="167"/>
          <ac:picMkLst>
            <pc:docMk/>
            <pc:sldMk cId="223812509" sldId="2134806617"/>
            <ac:picMk id="6" creationId="{07C93A96-18D9-5B3F-F13C-874B5F539784}"/>
          </ac:picMkLst>
        </pc:picChg>
      </pc:sldChg>
      <pc:sldChg chg="addSp delSp modSp add mod delAnim">
        <pc:chgData name="Mohamed Ibissi" userId="90b6f8706c8cb808" providerId="LiveId" clId="{D4365AD1-7D00-42D7-8E47-6E306EC2F93A}" dt="2024-11-12T14:36:40.980" v="2144" actId="20577"/>
        <pc:sldMkLst>
          <pc:docMk/>
          <pc:sldMk cId="3242089956" sldId="2134806618"/>
        </pc:sldMkLst>
        <pc:spChg chg="mod">
          <ac:chgData name="Mohamed Ibissi" userId="90b6f8706c8cb808" providerId="LiveId" clId="{D4365AD1-7D00-42D7-8E47-6E306EC2F93A}" dt="2024-11-12T14:36:40.980" v="2144" actId="20577"/>
          <ac:spMkLst>
            <pc:docMk/>
            <pc:sldMk cId="3242089956" sldId="2134806618"/>
            <ac:spMk id="2" creationId="{8FDA055C-3533-0D3B-FFDA-864B9D86A846}"/>
          </ac:spMkLst>
        </pc:spChg>
        <pc:spChg chg="add mod">
          <ac:chgData name="Mohamed Ibissi" userId="90b6f8706c8cb808" providerId="LiveId" clId="{D4365AD1-7D00-42D7-8E47-6E306EC2F93A}" dt="2024-11-09T07:41:46.766" v="1345"/>
          <ac:spMkLst>
            <pc:docMk/>
            <pc:sldMk cId="3242089956" sldId="2134806618"/>
            <ac:spMk id="5" creationId="{C42B67D8-AF8D-CC3D-C8DD-FBC81B08DCD4}"/>
          </ac:spMkLst>
        </pc:spChg>
        <pc:spChg chg="add mod">
          <ac:chgData name="Mohamed Ibissi" userId="90b6f8706c8cb808" providerId="LiveId" clId="{D4365AD1-7D00-42D7-8E47-6E306EC2F93A}" dt="2024-11-09T07:41:46.766" v="1345"/>
          <ac:spMkLst>
            <pc:docMk/>
            <pc:sldMk cId="3242089956" sldId="2134806618"/>
            <ac:spMk id="7" creationId="{E8E48C89-DDD2-B937-999B-C18A04EC557E}"/>
          </ac:spMkLst>
        </pc:spChg>
        <pc:spChg chg="del">
          <ac:chgData name="Mohamed Ibissi" userId="90b6f8706c8cb808" providerId="LiveId" clId="{D4365AD1-7D00-42D7-8E47-6E306EC2F93A}" dt="2024-11-09T07:40:45.355" v="1337" actId="478"/>
          <ac:spMkLst>
            <pc:docMk/>
            <pc:sldMk cId="3242089956" sldId="2134806618"/>
            <ac:spMk id="9" creationId="{314AA1FD-4E33-A479-3209-0B5B932E3BB9}"/>
          </ac:spMkLst>
        </pc:spChg>
        <pc:graphicFrameChg chg="del">
          <ac:chgData name="Mohamed Ibissi" userId="90b6f8706c8cb808" providerId="LiveId" clId="{D4365AD1-7D00-42D7-8E47-6E306EC2F93A}" dt="2024-11-11T10:37:53.660" v="1889" actId="478"/>
          <ac:graphicFrameMkLst>
            <pc:docMk/>
            <pc:sldMk cId="3242089956" sldId="2134806618"/>
            <ac:graphicFrameMk id="4" creationId="{61CEA33F-E6A3-97E5-F183-0F1EB9948C13}"/>
          </ac:graphicFrameMkLst>
        </pc:graphicFrameChg>
        <pc:picChg chg="add mod">
          <ac:chgData name="Mohamed Ibissi" userId="90b6f8706c8cb808" providerId="LiveId" clId="{D4365AD1-7D00-42D7-8E47-6E306EC2F93A}" dt="2024-11-09T07:41:46.766" v="1345"/>
          <ac:picMkLst>
            <pc:docMk/>
            <pc:sldMk cId="3242089956" sldId="2134806618"/>
            <ac:picMk id="3" creationId="{438820BF-596F-D773-4FFD-B1AEB949A924}"/>
          </ac:picMkLst>
        </pc:picChg>
        <pc:picChg chg="add mod ord">
          <ac:chgData name="Mohamed Ibissi" userId="90b6f8706c8cb808" providerId="LiveId" clId="{D4365AD1-7D00-42D7-8E47-6E306EC2F93A}" dt="2024-11-11T10:37:56.928" v="1891" actId="167"/>
          <ac:picMkLst>
            <pc:docMk/>
            <pc:sldMk cId="3242089956" sldId="2134806618"/>
            <ac:picMk id="6" creationId="{5C908B41-6B9C-46CC-26DC-6F4259A13D35}"/>
          </ac:picMkLst>
        </pc:picChg>
        <pc:picChg chg="del">
          <ac:chgData name="Mohamed Ibissi" userId="90b6f8706c8cb808" providerId="LiveId" clId="{D4365AD1-7D00-42D7-8E47-6E306EC2F93A}" dt="2024-11-09T07:41:53.771" v="1346" actId="478"/>
          <ac:picMkLst>
            <pc:docMk/>
            <pc:sldMk cId="3242089956" sldId="2134806618"/>
            <ac:picMk id="6" creationId="{BC8223DE-3DF9-46C3-4BDA-62779BD9EFC5}"/>
          </ac:picMkLst>
        </pc:picChg>
        <pc:picChg chg="del">
          <ac:chgData name="Mohamed Ibissi" userId="90b6f8706c8cb808" providerId="LiveId" clId="{D4365AD1-7D00-42D7-8E47-6E306EC2F93A}" dt="2024-11-09T07:40:42.322" v="1336" actId="478"/>
          <ac:picMkLst>
            <pc:docMk/>
            <pc:sldMk cId="3242089956" sldId="2134806618"/>
            <ac:picMk id="8" creationId="{797FA4D2-E23D-314E-6847-8ED506DD9840}"/>
          </ac:picMkLst>
        </pc:picChg>
        <pc:picChg chg="del">
          <ac:chgData name="Mohamed Ibissi" userId="90b6f8706c8cb808" providerId="LiveId" clId="{D4365AD1-7D00-42D7-8E47-6E306EC2F93A}" dt="2024-11-09T07:40:45.355" v="1337" actId="478"/>
          <ac:picMkLst>
            <pc:docMk/>
            <pc:sldMk cId="3242089956" sldId="2134806618"/>
            <ac:picMk id="10" creationId="{577ED7E4-07A6-06F7-6BB9-B6D7AD21837D}"/>
          </ac:picMkLst>
        </pc:picChg>
        <pc:picChg chg="del">
          <ac:chgData name="Mohamed Ibissi" userId="90b6f8706c8cb808" providerId="LiveId" clId="{D4365AD1-7D00-42D7-8E47-6E306EC2F93A}" dt="2024-11-09T07:40:45.355" v="1337" actId="478"/>
          <ac:picMkLst>
            <pc:docMk/>
            <pc:sldMk cId="3242089956" sldId="2134806618"/>
            <ac:picMk id="11" creationId="{C808E851-B6F4-1E8D-4E35-BF62B4B5057A}"/>
          </ac:picMkLst>
        </pc:picChg>
        <pc:picChg chg="add mod">
          <ac:chgData name="Mohamed Ibissi" userId="90b6f8706c8cb808" providerId="LiveId" clId="{D4365AD1-7D00-42D7-8E47-6E306EC2F93A}" dt="2024-11-09T07:42:00.101" v="1347"/>
          <ac:picMkLst>
            <pc:docMk/>
            <pc:sldMk cId="3242089956" sldId="2134806618"/>
            <ac:picMk id="12" creationId="{87C28F21-A088-B868-3F48-982C57AC8663}"/>
          </ac:picMkLst>
        </pc:picChg>
      </pc:sldChg>
      <pc:sldChg chg="addSp delSp modSp add mod ord">
        <pc:chgData name="Mohamed Ibissi" userId="90b6f8706c8cb808" providerId="LiveId" clId="{D4365AD1-7D00-42D7-8E47-6E306EC2F93A}" dt="2024-11-11T10:38:03.773" v="1894" actId="167"/>
        <pc:sldMkLst>
          <pc:docMk/>
          <pc:sldMk cId="2245035845" sldId="2134806619"/>
        </pc:sldMkLst>
        <pc:graphicFrameChg chg="del">
          <ac:chgData name="Mohamed Ibissi" userId="90b6f8706c8cb808" providerId="LiveId" clId="{D4365AD1-7D00-42D7-8E47-6E306EC2F93A}" dt="2024-11-11T10:38:01.054" v="1892" actId="478"/>
          <ac:graphicFrameMkLst>
            <pc:docMk/>
            <pc:sldMk cId="2245035845" sldId="2134806619"/>
            <ac:graphicFrameMk id="4" creationId="{B5E3F5D8-8F86-EC27-54D0-054B10721F4B}"/>
          </ac:graphicFrameMkLst>
        </pc:graphicFrameChg>
        <pc:picChg chg="add mod ord">
          <ac:chgData name="Mohamed Ibissi" userId="90b6f8706c8cb808" providerId="LiveId" clId="{D4365AD1-7D00-42D7-8E47-6E306EC2F93A}" dt="2024-11-11T10:38:03.773" v="1894" actId="167"/>
          <ac:picMkLst>
            <pc:docMk/>
            <pc:sldMk cId="2245035845" sldId="2134806619"/>
            <ac:picMk id="5" creationId="{B4E0A9B5-37AF-E092-88BC-47D4CFE467B5}"/>
          </ac:picMkLst>
        </pc:picChg>
      </pc:sldChg>
      <pc:sldChg chg="addSp delSp modSp add mod ord replId">
        <pc:chgData name="Mohamed Ibissi" userId="90b6f8706c8cb808" providerId="LiveId" clId="{D4365AD1-7D00-42D7-8E47-6E306EC2F93A}" dt="2024-11-11T10:38:12.401" v="1897" actId="167"/>
        <pc:sldMkLst>
          <pc:docMk/>
          <pc:sldMk cId="2347170905" sldId="2134806620"/>
        </pc:sldMkLst>
        <pc:graphicFrameChg chg="del">
          <ac:chgData name="Mohamed Ibissi" userId="90b6f8706c8cb808" providerId="LiveId" clId="{D4365AD1-7D00-42D7-8E47-6E306EC2F93A}" dt="2024-11-11T10:38:09.260" v="1895" actId="478"/>
          <ac:graphicFrameMkLst>
            <pc:docMk/>
            <pc:sldMk cId="2347170905" sldId="2134806620"/>
            <ac:graphicFrameMk id="4" creationId="{D89FE928-0065-4A2A-657C-E5F8584BAC04}"/>
          </ac:graphicFrameMkLst>
        </pc:graphicFrameChg>
        <pc:picChg chg="add mod ord">
          <ac:chgData name="Mohamed Ibissi" userId="90b6f8706c8cb808" providerId="LiveId" clId="{D4365AD1-7D00-42D7-8E47-6E306EC2F93A}" dt="2024-11-11T10:38:12.401" v="1897" actId="167"/>
          <ac:picMkLst>
            <pc:docMk/>
            <pc:sldMk cId="2347170905" sldId="2134806620"/>
            <ac:picMk id="3" creationId="{30981094-C000-C705-FB39-4E515EA62437}"/>
          </ac:picMkLst>
        </pc:picChg>
      </pc:sldChg>
      <pc:sldChg chg="addSp delSp modSp add mod ord replId">
        <pc:chgData name="Mohamed Ibissi" userId="90b6f8706c8cb808" providerId="LiveId" clId="{D4365AD1-7D00-42D7-8E47-6E306EC2F93A}" dt="2024-11-11T10:38:21.049" v="1900" actId="167"/>
        <pc:sldMkLst>
          <pc:docMk/>
          <pc:sldMk cId="4086421249" sldId="2134806621"/>
        </pc:sldMkLst>
        <pc:graphicFrameChg chg="del">
          <ac:chgData name="Mohamed Ibissi" userId="90b6f8706c8cb808" providerId="LiveId" clId="{D4365AD1-7D00-42D7-8E47-6E306EC2F93A}" dt="2024-11-11T10:38:18.093" v="1898" actId="478"/>
          <ac:graphicFrameMkLst>
            <pc:docMk/>
            <pc:sldMk cId="4086421249" sldId="2134806621"/>
            <ac:graphicFrameMk id="4" creationId="{55B6E13B-1053-018F-8DE8-DA66EA91D03B}"/>
          </ac:graphicFrameMkLst>
        </pc:graphicFrameChg>
        <pc:picChg chg="add mod ord">
          <ac:chgData name="Mohamed Ibissi" userId="90b6f8706c8cb808" providerId="LiveId" clId="{D4365AD1-7D00-42D7-8E47-6E306EC2F93A}" dt="2024-11-11T10:38:21.049" v="1900" actId="167"/>
          <ac:picMkLst>
            <pc:docMk/>
            <pc:sldMk cId="4086421249" sldId="2134806621"/>
            <ac:picMk id="5" creationId="{3A8374DA-4276-21E6-B62D-524573B719A6}"/>
          </ac:picMkLst>
        </pc:picChg>
      </pc:sldChg>
      <pc:sldChg chg="addSp delSp modSp add del mod ord replId">
        <pc:chgData name="Mohamed Ibissi" userId="90b6f8706c8cb808" providerId="LiveId" clId="{D4365AD1-7D00-42D7-8E47-6E306EC2F93A}" dt="2024-11-10T21:48:18.608" v="1527" actId="47"/>
        <pc:sldMkLst>
          <pc:docMk/>
          <pc:sldMk cId="878864199" sldId="2134806622"/>
        </pc:sldMkLst>
        <pc:spChg chg="del">
          <ac:chgData name="Mohamed Ibissi" userId="90b6f8706c8cb808" providerId="LiveId" clId="{D4365AD1-7D00-42D7-8E47-6E306EC2F93A}" dt="2024-11-09T07:43:22.953" v="1351" actId="478"/>
          <ac:spMkLst>
            <pc:docMk/>
            <pc:sldMk cId="878864199" sldId="2134806622"/>
            <ac:spMk id="6" creationId="{262F5D4F-6549-210F-152E-28740EC18320}"/>
          </ac:spMkLst>
        </pc:spChg>
        <pc:spChg chg="add mod">
          <ac:chgData name="Mohamed Ibissi" userId="90b6f8706c8cb808" providerId="LiveId" clId="{D4365AD1-7D00-42D7-8E47-6E306EC2F93A}" dt="2024-11-09T07:43:34.289" v="1353"/>
          <ac:spMkLst>
            <pc:docMk/>
            <pc:sldMk cId="878864199" sldId="2134806622"/>
            <ac:spMk id="7" creationId="{F5B09D75-B022-60C8-1815-7D87DDDB8099}"/>
          </ac:spMkLst>
        </pc:spChg>
        <pc:picChg chg="del">
          <ac:chgData name="Mohamed Ibissi" userId="90b6f8706c8cb808" providerId="LiveId" clId="{D4365AD1-7D00-42D7-8E47-6E306EC2F93A}" dt="2024-11-09T07:43:24.687" v="1352" actId="478"/>
          <ac:picMkLst>
            <pc:docMk/>
            <pc:sldMk cId="878864199" sldId="2134806622"/>
            <ac:picMk id="3" creationId="{2CAD84C3-1A2D-12EB-503B-D4F817F2EAA2}"/>
          </ac:picMkLst>
        </pc:picChg>
        <pc:picChg chg="add mod">
          <ac:chgData name="Mohamed Ibissi" userId="90b6f8706c8cb808" providerId="LiveId" clId="{D4365AD1-7D00-42D7-8E47-6E306EC2F93A}" dt="2024-11-09T07:43:34.289" v="1353"/>
          <ac:picMkLst>
            <pc:docMk/>
            <pc:sldMk cId="878864199" sldId="2134806622"/>
            <ac:picMk id="5" creationId="{B7FFDA4D-27E6-F96D-FDF5-AA00A87A26F8}"/>
          </ac:picMkLst>
        </pc:picChg>
        <pc:picChg chg="add mod">
          <ac:chgData name="Mohamed Ibissi" userId="90b6f8706c8cb808" providerId="LiveId" clId="{D4365AD1-7D00-42D7-8E47-6E306EC2F93A}" dt="2024-11-09T07:43:34.289" v="1353"/>
          <ac:picMkLst>
            <pc:docMk/>
            <pc:sldMk cId="878864199" sldId="2134806622"/>
            <ac:picMk id="9" creationId="{1F25CB59-FF3E-4FD3-98EB-78A9AE3A381B}"/>
          </ac:picMkLst>
        </pc:picChg>
        <pc:picChg chg="add mod">
          <ac:chgData name="Mohamed Ibissi" userId="90b6f8706c8cb808" providerId="LiveId" clId="{D4365AD1-7D00-42D7-8E47-6E306EC2F93A}" dt="2024-11-09T07:43:34.289" v="1353"/>
          <ac:picMkLst>
            <pc:docMk/>
            <pc:sldMk cId="878864199" sldId="2134806622"/>
            <ac:picMk id="10" creationId="{FBB72F85-8EE5-1CB3-2E7C-58E238897D45}"/>
          </ac:picMkLst>
        </pc:picChg>
      </pc:sldChg>
      <pc:sldChg chg="addSp delSp modSp add mod ord replId delAnim modAnim">
        <pc:chgData name="Mohamed Ibissi" userId="90b6f8706c8cb808" providerId="LiveId" clId="{D4365AD1-7D00-42D7-8E47-6E306EC2F93A}" dt="2024-11-11T10:38:31.256" v="1903" actId="167"/>
        <pc:sldMkLst>
          <pc:docMk/>
          <pc:sldMk cId="3917923271" sldId="2134806623"/>
        </pc:sldMkLst>
        <pc:spChg chg="mod">
          <ac:chgData name="Mohamed Ibissi" userId="90b6f8706c8cb808" providerId="LiveId" clId="{D4365AD1-7D00-42D7-8E47-6E306EC2F93A}" dt="2024-11-10T21:48:25" v="1528"/>
          <ac:spMkLst>
            <pc:docMk/>
            <pc:sldMk cId="3917923271" sldId="2134806623"/>
            <ac:spMk id="2" creationId="{2FC8984B-9DB1-CD47-970D-2ED9DD1C0D0F}"/>
          </ac:spMkLst>
        </pc:spChg>
        <pc:spChg chg="del">
          <ac:chgData name="Mohamed Ibissi" userId="90b6f8706c8cb808" providerId="LiveId" clId="{D4365AD1-7D00-42D7-8E47-6E306EC2F93A}" dt="2024-11-09T07:43:54.459" v="1354" actId="478"/>
          <ac:spMkLst>
            <pc:docMk/>
            <pc:sldMk cId="3917923271" sldId="2134806623"/>
            <ac:spMk id="9" creationId="{BDC23AC2-328E-2AD9-7049-75F7E6467F16}"/>
          </ac:spMkLst>
        </pc:spChg>
        <pc:spChg chg="add mod">
          <ac:chgData name="Mohamed Ibissi" userId="90b6f8706c8cb808" providerId="LiveId" clId="{D4365AD1-7D00-42D7-8E47-6E306EC2F93A}" dt="2024-11-09T07:44:15.270" v="1355"/>
          <ac:spMkLst>
            <pc:docMk/>
            <pc:sldMk cId="3917923271" sldId="2134806623"/>
            <ac:spMk id="14" creationId="{4878B214-B866-A309-8395-1FF8CABFB9D9}"/>
          </ac:spMkLst>
        </pc:spChg>
        <pc:graphicFrameChg chg="del">
          <ac:chgData name="Mohamed Ibissi" userId="90b6f8706c8cb808" providerId="LiveId" clId="{D4365AD1-7D00-42D7-8E47-6E306EC2F93A}" dt="2024-11-11T10:38:28.285" v="1901" actId="478"/>
          <ac:graphicFrameMkLst>
            <pc:docMk/>
            <pc:sldMk cId="3917923271" sldId="2134806623"/>
            <ac:graphicFrameMk id="4" creationId="{C687711E-FE33-22CF-6B4E-5F2136CA2EA9}"/>
          </ac:graphicFrameMkLst>
        </pc:graphicFrameChg>
        <pc:picChg chg="add mod">
          <ac:chgData name="Mohamed Ibissi" userId="90b6f8706c8cb808" providerId="LiveId" clId="{D4365AD1-7D00-42D7-8E47-6E306EC2F93A}" dt="2024-11-09T07:44:15.270" v="1355"/>
          <ac:picMkLst>
            <pc:docMk/>
            <pc:sldMk cId="3917923271" sldId="2134806623"/>
            <ac:picMk id="3" creationId="{432D5B03-EE0E-F881-905B-F919E2AC6C67}"/>
          </ac:picMkLst>
        </pc:picChg>
        <pc:picChg chg="add mod">
          <ac:chgData name="Mohamed Ibissi" userId="90b6f8706c8cb808" providerId="LiveId" clId="{D4365AD1-7D00-42D7-8E47-6E306EC2F93A}" dt="2024-11-09T07:44:15.270" v="1355"/>
          <ac:picMkLst>
            <pc:docMk/>
            <pc:sldMk cId="3917923271" sldId="2134806623"/>
            <ac:picMk id="5" creationId="{999D9109-93DE-9A99-8B58-3D2BAA3EFB1E}"/>
          </ac:picMkLst>
        </pc:picChg>
        <pc:picChg chg="add mod">
          <ac:chgData name="Mohamed Ibissi" userId="90b6f8706c8cb808" providerId="LiveId" clId="{D4365AD1-7D00-42D7-8E47-6E306EC2F93A}" dt="2024-11-09T07:44:15.270" v="1355"/>
          <ac:picMkLst>
            <pc:docMk/>
            <pc:sldMk cId="3917923271" sldId="2134806623"/>
            <ac:picMk id="7" creationId="{92597106-990E-CC57-61FD-6D813ECF0A54}"/>
          </ac:picMkLst>
        </pc:picChg>
        <pc:picChg chg="del">
          <ac:chgData name="Mohamed Ibissi" userId="90b6f8706c8cb808" providerId="LiveId" clId="{D4365AD1-7D00-42D7-8E47-6E306EC2F93A}" dt="2024-11-09T07:43:54.459" v="1354" actId="478"/>
          <ac:picMkLst>
            <pc:docMk/>
            <pc:sldMk cId="3917923271" sldId="2134806623"/>
            <ac:picMk id="8" creationId="{02BEDE3E-068E-F9C4-6CB9-BF27F1A2A460}"/>
          </ac:picMkLst>
        </pc:picChg>
        <pc:picChg chg="add mod ord">
          <ac:chgData name="Mohamed Ibissi" userId="90b6f8706c8cb808" providerId="LiveId" clId="{D4365AD1-7D00-42D7-8E47-6E306EC2F93A}" dt="2024-11-11T10:38:31.256" v="1903" actId="167"/>
          <ac:picMkLst>
            <pc:docMk/>
            <pc:sldMk cId="3917923271" sldId="2134806623"/>
            <ac:picMk id="8" creationId="{CE9B73BA-940A-37CE-EA98-314101939B50}"/>
          </ac:picMkLst>
        </pc:picChg>
        <pc:picChg chg="del">
          <ac:chgData name="Mohamed Ibissi" userId="90b6f8706c8cb808" providerId="LiveId" clId="{D4365AD1-7D00-42D7-8E47-6E306EC2F93A}" dt="2024-11-09T07:43:54.459" v="1354" actId="478"/>
          <ac:picMkLst>
            <pc:docMk/>
            <pc:sldMk cId="3917923271" sldId="2134806623"/>
            <ac:picMk id="10" creationId="{426DCF05-FB8B-6767-D65A-BBCE7ECBCF00}"/>
          </ac:picMkLst>
        </pc:picChg>
        <pc:picChg chg="del">
          <ac:chgData name="Mohamed Ibissi" userId="90b6f8706c8cb808" providerId="LiveId" clId="{D4365AD1-7D00-42D7-8E47-6E306EC2F93A}" dt="2024-11-09T07:43:54.459" v="1354" actId="478"/>
          <ac:picMkLst>
            <pc:docMk/>
            <pc:sldMk cId="3917923271" sldId="2134806623"/>
            <ac:picMk id="11" creationId="{44F2A2EF-DC39-4FE2-920E-9773739F9F6A}"/>
          </ac:picMkLst>
        </pc:picChg>
        <pc:picChg chg="add mod">
          <ac:chgData name="Mohamed Ibissi" userId="90b6f8706c8cb808" providerId="LiveId" clId="{D4365AD1-7D00-42D7-8E47-6E306EC2F93A}" dt="2024-11-09T07:44:15.270" v="1355"/>
          <ac:picMkLst>
            <pc:docMk/>
            <pc:sldMk cId="3917923271" sldId="2134806623"/>
            <ac:picMk id="12" creationId="{D00C299B-282A-D7B2-3907-16C957E48585}"/>
          </ac:picMkLst>
        </pc:picChg>
        <pc:picChg chg="add mod">
          <ac:chgData name="Mohamed Ibissi" userId="90b6f8706c8cb808" providerId="LiveId" clId="{D4365AD1-7D00-42D7-8E47-6E306EC2F93A}" dt="2024-11-09T07:44:15.270" v="1355"/>
          <ac:picMkLst>
            <pc:docMk/>
            <pc:sldMk cId="3917923271" sldId="2134806623"/>
            <ac:picMk id="13" creationId="{11B442E4-D6F1-FFBE-D36D-E94014A06C76}"/>
          </ac:picMkLst>
        </pc:picChg>
      </pc:sldChg>
      <pc:sldChg chg="modSp add mod">
        <pc:chgData name="Mohamed Ibissi" userId="90b6f8706c8cb808" providerId="LiveId" clId="{D4365AD1-7D00-42D7-8E47-6E306EC2F93A}" dt="2024-11-12T13:08:55.035" v="2095" actId="2711"/>
        <pc:sldMkLst>
          <pc:docMk/>
          <pc:sldMk cId="771825463" sldId="2134806624"/>
        </pc:sldMkLst>
        <pc:spChg chg="mod">
          <ac:chgData name="Mohamed Ibissi" userId="90b6f8706c8cb808" providerId="LiveId" clId="{D4365AD1-7D00-42D7-8E47-6E306EC2F93A}" dt="2024-11-12T13:08:55.035" v="2095" actId="2711"/>
          <ac:spMkLst>
            <pc:docMk/>
            <pc:sldMk cId="771825463" sldId="2134806624"/>
            <ac:spMk id="30" creationId="{2998D8A0-373E-CBC3-F39E-C85374E71F84}"/>
          </ac:spMkLst>
        </pc:spChg>
      </pc:sldChg>
      <pc:sldChg chg="modSp add mod">
        <pc:chgData name="Mohamed Ibissi" userId="90b6f8706c8cb808" providerId="LiveId" clId="{D4365AD1-7D00-42D7-8E47-6E306EC2F93A}" dt="2024-11-12T13:09:13.900" v="2097" actId="404"/>
        <pc:sldMkLst>
          <pc:docMk/>
          <pc:sldMk cId="3809573710" sldId="2134806625"/>
        </pc:sldMkLst>
        <pc:spChg chg="mod">
          <ac:chgData name="Mohamed Ibissi" userId="90b6f8706c8cb808" providerId="LiveId" clId="{D4365AD1-7D00-42D7-8E47-6E306EC2F93A}" dt="2024-11-12T13:09:13.900" v="2097" actId="404"/>
          <ac:spMkLst>
            <pc:docMk/>
            <pc:sldMk cId="3809573710" sldId="2134806625"/>
            <ac:spMk id="2" creationId="{EFB9B008-41AC-BDC5-4B91-5A497B148B44}"/>
          </ac:spMkLst>
        </pc:spChg>
      </pc:sldChg>
      <pc:sldChg chg="modSp add mod">
        <pc:chgData name="Mohamed Ibissi" userId="90b6f8706c8cb808" providerId="LiveId" clId="{D4365AD1-7D00-42D7-8E47-6E306EC2F93A}" dt="2024-11-12T13:10:19.821" v="2101" actId="2711"/>
        <pc:sldMkLst>
          <pc:docMk/>
          <pc:sldMk cId="3456365433" sldId="2134806626"/>
        </pc:sldMkLst>
        <pc:spChg chg="mod">
          <ac:chgData name="Mohamed Ibissi" userId="90b6f8706c8cb808" providerId="LiveId" clId="{D4365AD1-7D00-42D7-8E47-6E306EC2F93A}" dt="2024-11-12T13:10:19.821" v="2101" actId="2711"/>
          <ac:spMkLst>
            <pc:docMk/>
            <pc:sldMk cId="3456365433" sldId="2134806626"/>
            <ac:spMk id="2" creationId="{5D5EC3F9-B576-AAD3-32E6-690B5DFDA61D}"/>
          </ac:spMkLst>
        </pc:spChg>
        <pc:spChg chg="mod">
          <ac:chgData name="Mohamed Ibissi" userId="90b6f8706c8cb808" providerId="LiveId" clId="{D4365AD1-7D00-42D7-8E47-6E306EC2F93A}" dt="2024-11-12T13:10:19.821" v="2101" actId="2711"/>
          <ac:spMkLst>
            <pc:docMk/>
            <pc:sldMk cId="3456365433" sldId="2134806626"/>
            <ac:spMk id="6" creationId="{00000000-0000-0000-0000-000000000000}"/>
          </ac:spMkLst>
        </pc:spChg>
      </pc:sldChg>
      <pc:sldChg chg="addSp delSp modSp add mod">
        <pc:chgData name="Mohamed Ibissi" userId="90b6f8706c8cb808" providerId="LiveId" clId="{D4365AD1-7D00-42D7-8E47-6E306EC2F93A}" dt="2024-11-12T13:11:17.006" v="2106" actId="1076"/>
        <pc:sldMkLst>
          <pc:docMk/>
          <pc:sldMk cId="714430154" sldId="2134806627"/>
        </pc:sldMkLst>
        <pc:spChg chg="mod">
          <ac:chgData name="Mohamed Ibissi" userId="90b6f8706c8cb808" providerId="LiveId" clId="{D4365AD1-7D00-42D7-8E47-6E306EC2F93A}" dt="2024-11-11T10:16:50.061" v="1611"/>
          <ac:spMkLst>
            <pc:docMk/>
            <pc:sldMk cId="714430154" sldId="2134806627"/>
            <ac:spMk id="8" creationId="{407B291E-39AB-ED59-91BB-808EBC9ED614}"/>
          </ac:spMkLst>
        </pc:spChg>
        <pc:spChg chg="add mod">
          <ac:chgData name="Mohamed Ibissi" userId="90b6f8706c8cb808" providerId="LiveId" clId="{D4365AD1-7D00-42D7-8E47-6E306EC2F93A}" dt="2024-11-11T16:56:04.428" v="1952" actId="1076"/>
          <ac:spMkLst>
            <pc:docMk/>
            <pc:sldMk cId="714430154" sldId="2134806627"/>
            <ac:spMk id="20" creationId="{2DA67A66-CF0F-475A-927F-B9D408531284}"/>
          </ac:spMkLst>
        </pc:spChg>
        <pc:picChg chg="add del mod">
          <ac:chgData name="Mohamed Ibissi" userId="90b6f8706c8cb808" providerId="LiveId" clId="{D4365AD1-7D00-42D7-8E47-6E306EC2F93A}" dt="2024-11-11T16:56:44.380" v="1955" actId="478"/>
          <ac:picMkLst>
            <pc:docMk/>
            <pc:sldMk cId="714430154" sldId="2134806627"/>
            <ac:picMk id="16" creationId="{454CCA26-04A2-E345-89DB-816180C6E8E9}"/>
          </ac:picMkLst>
        </pc:picChg>
        <pc:picChg chg="add mod">
          <ac:chgData name="Mohamed Ibissi" userId="90b6f8706c8cb808" providerId="LiveId" clId="{D4365AD1-7D00-42D7-8E47-6E306EC2F93A}" dt="2024-11-12T13:11:17.006" v="2106" actId="1076"/>
          <ac:picMkLst>
            <pc:docMk/>
            <pc:sldMk cId="714430154" sldId="2134806627"/>
            <ac:picMk id="22" creationId="{D58F68B8-C824-D8FA-49C7-FCC1DE9E58F4}"/>
          </ac:picMkLst>
        </pc:picChg>
      </pc:sldChg>
      <pc:sldChg chg="add">
        <pc:chgData name="Mohamed Ibissi" userId="90b6f8706c8cb808" providerId="LiveId" clId="{D4365AD1-7D00-42D7-8E47-6E306EC2F93A}" dt="2024-11-11T10:17:14.472" v="1613"/>
        <pc:sldMkLst>
          <pc:docMk/>
          <pc:sldMk cId="461257426" sldId="2134806628"/>
        </pc:sldMkLst>
      </pc:sldChg>
      <pc:sldChg chg="add">
        <pc:chgData name="Mohamed Ibissi" userId="90b6f8706c8cb808" providerId="LiveId" clId="{D4365AD1-7D00-42D7-8E47-6E306EC2F93A}" dt="2024-11-11T10:18:59.417" v="1616"/>
        <pc:sldMkLst>
          <pc:docMk/>
          <pc:sldMk cId="4121253854" sldId="2134806629"/>
        </pc:sldMkLst>
      </pc:sldChg>
      <pc:sldChg chg="modSp add mod">
        <pc:chgData name="Mohamed Ibissi" userId="90b6f8706c8cb808" providerId="LiveId" clId="{D4365AD1-7D00-42D7-8E47-6E306EC2F93A}" dt="2024-11-11T10:19:54.161" v="1622" actId="20577"/>
        <pc:sldMkLst>
          <pc:docMk/>
          <pc:sldMk cId="3541423446" sldId="2134806630"/>
        </pc:sldMkLst>
        <pc:spChg chg="mod">
          <ac:chgData name="Mohamed Ibissi" userId="90b6f8706c8cb808" providerId="LiveId" clId="{D4365AD1-7D00-42D7-8E47-6E306EC2F93A}" dt="2024-11-11T10:19:54.161" v="1622" actId="20577"/>
          <ac:spMkLst>
            <pc:docMk/>
            <pc:sldMk cId="3541423446" sldId="2134806630"/>
            <ac:spMk id="6" creationId="{F7B80CEE-EF85-F60C-1AD2-8ACD885F40CD}"/>
          </ac:spMkLst>
        </pc:spChg>
      </pc:sldChg>
      <pc:sldChg chg="modSp add mod">
        <pc:chgData name="Mohamed Ibissi" userId="90b6f8706c8cb808" providerId="LiveId" clId="{D4365AD1-7D00-42D7-8E47-6E306EC2F93A}" dt="2024-11-11T10:20:48.495" v="1629" actId="20577"/>
        <pc:sldMkLst>
          <pc:docMk/>
          <pc:sldMk cId="3146953523" sldId="2134806631"/>
        </pc:sldMkLst>
        <pc:spChg chg="mod">
          <ac:chgData name="Mohamed Ibissi" userId="90b6f8706c8cb808" providerId="LiveId" clId="{D4365AD1-7D00-42D7-8E47-6E306EC2F93A}" dt="2024-11-11T10:20:48.495" v="1629" actId="20577"/>
          <ac:spMkLst>
            <pc:docMk/>
            <pc:sldMk cId="3146953523" sldId="2134806631"/>
            <ac:spMk id="6" creationId="{C346EBC9-4F2C-B60B-634D-66FA694C9CE1}"/>
          </ac:spMkLst>
        </pc:spChg>
      </pc:sldChg>
      <pc:sldChg chg="modSp add mod">
        <pc:chgData name="Mohamed Ibissi" userId="90b6f8706c8cb808" providerId="LiveId" clId="{D4365AD1-7D00-42D7-8E47-6E306EC2F93A}" dt="2024-11-11T10:21:52.694" v="1637" actId="20577"/>
        <pc:sldMkLst>
          <pc:docMk/>
          <pc:sldMk cId="2906845867" sldId="2134806632"/>
        </pc:sldMkLst>
        <pc:spChg chg="mod">
          <ac:chgData name="Mohamed Ibissi" userId="90b6f8706c8cb808" providerId="LiveId" clId="{D4365AD1-7D00-42D7-8E47-6E306EC2F93A}" dt="2024-11-11T10:21:52.694" v="1637" actId="20577"/>
          <ac:spMkLst>
            <pc:docMk/>
            <pc:sldMk cId="2906845867" sldId="2134806632"/>
            <ac:spMk id="6" creationId="{00000000-0000-0000-0000-000000000000}"/>
          </ac:spMkLst>
        </pc:spChg>
      </pc:sldChg>
      <pc:sldChg chg="add">
        <pc:chgData name="Mohamed Ibissi" userId="90b6f8706c8cb808" providerId="LiveId" clId="{D4365AD1-7D00-42D7-8E47-6E306EC2F93A}" dt="2024-11-11T10:22:15.679" v="1639"/>
        <pc:sldMkLst>
          <pc:docMk/>
          <pc:sldMk cId="2310812264" sldId="213480663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C2F6EA-2943-4A15-A9FB-D4A77DB509D7}" type="datetimeFigureOut">
              <a:rPr lang="fr-MA" smtClean="0"/>
              <a:t>12/11/2024</a:t>
            </a:fld>
            <a:endParaRPr lang="fr-M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M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M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580728-7F02-44CF-B57E-CA6F2E760783}" type="slidenum">
              <a:rPr lang="fr-MA" smtClean="0"/>
              <a:t>‹N°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48988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AE87F-B08A-4342-80EC-80A3A2B8D41A}" type="slidenum">
              <a:rPr kumimoji="0" lang="fr-M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M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4108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580728-7F02-44CF-B57E-CA6F2E760783}" type="slidenum">
              <a:rPr lang="fr-MA" smtClean="0"/>
              <a:t>88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162692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24078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4427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6293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0265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7653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969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6522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79777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4252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75066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1431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9447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.jpeg"/><Relationship Id="rId7" Type="http://schemas.openxmlformats.org/officeDocument/2006/relationships/image" Target="../media/image11.sv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11" Type="http://schemas.openxmlformats.org/officeDocument/2006/relationships/image" Target="../media/image2.png"/><Relationship Id="rId5" Type="http://schemas.openxmlformats.org/officeDocument/2006/relationships/image" Target="../media/image9.emf"/><Relationship Id="rId10" Type="http://schemas.openxmlformats.org/officeDocument/2006/relationships/image" Target="../media/image14.sv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13" Type="http://schemas.openxmlformats.org/officeDocument/2006/relationships/image" Target="../media/image39.png"/><Relationship Id="rId3" Type="http://schemas.openxmlformats.org/officeDocument/2006/relationships/tags" Target="../tags/tag15.xml"/><Relationship Id="rId7" Type="http://schemas.openxmlformats.org/officeDocument/2006/relationships/image" Target="../media/image29.jpeg"/><Relationship Id="rId12" Type="http://schemas.openxmlformats.org/officeDocument/2006/relationships/image" Target="../media/image38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8.jpeg"/><Relationship Id="rId11" Type="http://schemas.openxmlformats.org/officeDocument/2006/relationships/hyperlink" Target="https://openclipart.org/detail/131431/black-marker-marcador-negro" TargetMode="Externa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7.png"/><Relationship Id="rId4" Type="http://schemas.openxmlformats.org/officeDocument/2006/relationships/tags" Target="../tags/tag16.xml"/><Relationship Id="rId9" Type="http://schemas.openxmlformats.org/officeDocument/2006/relationships/image" Target="../media/image32.png"/><Relationship Id="rId1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1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5" Type="http://schemas.openxmlformats.org/officeDocument/2006/relationships/image" Target="../media/image4.png"/><Relationship Id="rId4" Type="http://schemas.openxmlformats.org/officeDocument/2006/relationships/image" Target="../media/image15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28.jpe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8.jpe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8.jpe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8.jpe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png"/><Relationship Id="rId5" Type="http://schemas.microsoft.com/office/2007/relationships/hdphoto" Target="../media/hdphoto2.wdp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17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14.svg"/><Relationship Id="rId2" Type="http://schemas.openxmlformats.org/officeDocument/2006/relationships/tags" Target="../tags/tag3.xml"/><Relationship Id="rId16" Type="http://schemas.openxmlformats.org/officeDocument/2006/relationships/image" Target="../media/image20.jp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0.png"/><Relationship Id="rId5" Type="http://schemas.openxmlformats.org/officeDocument/2006/relationships/tags" Target="../tags/tag6.xml"/><Relationship Id="rId15" Type="http://schemas.openxmlformats.org/officeDocument/2006/relationships/image" Target="../media/image19.png"/><Relationship Id="rId10" Type="http://schemas.openxmlformats.org/officeDocument/2006/relationships/image" Target="../media/image16.jpeg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png"/><Relationship Id="rId5" Type="http://schemas.microsoft.com/office/2007/relationships/hdphoto" Target="../media/hdphoto2.wdp"/><Relationship Id="rId4" Type="http://schemas.openxmlformats.org/officeDocument/2006/relationships/image" Target="../media/image4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png"/><Relationship Id="rId4" Type="http://schemas.openxmlformats.org/officeDocument/2006/relationships/image" Target="../media/image5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png"/><Relationship Id="rId4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1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5" Type="http://schemas.openxmlformats.org/officeDocument/2006/relationships/image" Target="../media/image4.png"/><Relationship Id="rId4" Type="http://schemas.openxmlformats.org/officeDocument/2006/relationships/image" Target="../media/image15.sv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28.jpe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8.jpe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Relationship Id="rId9" Type="http://schemas.openxmlformats.org/officeDocument/2006/relationships/image" Target="../media/image46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8.jpe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Relationship Id="rId9" Type="http://schemas.openxmlformats.org/officeDocument/2006/relationships/image" Target="../media/image46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8.jpe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Relationship Id="rId9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8.jpeg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47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Relationship Id="rId9" Type="http://schemas.openxmlformats.org/officeDocument/2006/relationships/image" Target="../media/image44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8.jpeg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6" Type="http://schemas.openxmlformats.org/officeDocument/2006/relationships/image" Target="../media/image47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Relationship Id="rId9" Type="http://schemas.openxmlformats.org/officeDocument/2006/relationships/image" Target="../media/image44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8.jpeg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6" Type="http://schemas.openxmlformats.org/officeDocument/2006/relationships/image" Target="../media/image47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Relationship Id="rId9" Type="http://schemas.openxmlformats.org/officeDocument/2006/relationships/image" Target="../media/image44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8.jpeg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47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Relationship Id="rId9" Type="http://schemas.openxmlformats.org/officeDocument/2006/relationships/image" Target="../media/image4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microsoft.com/office/2007/relationships/hdphoto" Target="../media/hdphoto2.wdp"/><Relationship Id="rId4" Type="http://schemas.openxmlformats.org/officeDocument/2006/relationships/image" Target="../media/image4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microsoft.com/office/2007/relationships/hdphoto" Target="../media/hdphoto2.wdp"/><Relationship Id="rId4" Type="http://schemas.openxmlformats.org/officeDocument/2006/relationships/image" Target="../media/image4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png"/><Relationship Id="rId4" Type="http://schemas.openxmlformats.org/officeDocument/2006/relationships/image" Target="../media/image5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png"/><Relationship Id="rId4" Type="http://schemas.openxmlformats.org/officeDocument/2006/relationships/image" Target="../media/image32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5" Type="http://schemas.openxmlformats.org/officeDocument/2006/relationships/image" Target="../media/image4.png"/><Relationship Id="rId4" Type="http://schemas.openxmlformats.org/officeDocument/2006/relationships/image" Target="../media/image15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57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png"/><Relationship Id="rId5" Type="http://schemas.microsoft.com/office/2007/relationships/hdphoto" Target="../media/hdphoto2.wdp"/><Relationship Id="rId4" Type="http://schemas.openxmlformats.org/officeDocument/2006/relationships/image" Target="../media/image48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png"/><Relationship Id="rId4" Type="http://schemas.openxmlformats.org/officeDocument/2006/relationships/image" Target="../media/image51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png"/><Relationship Id="rId4" Type="http://schemas.openxmlformats.org/officeDocument/2006/relationships/image" Target="../media/image32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58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3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1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5" Type="http://schemas.openxmlformats.org/officeDocument/2006/relationships/image" Target="../media/image4.png"/><Relationship Id="rId4" Type="http://schemas.openxmlformats.org/officeDocument/2006/relationships/image" Target="../media/image15.sv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6" Type="http://schemas.openxmlformats.org/officeDocument/2006/relationships/image" Target="../media/image60.png"/><Relationship Id="rId5" Type="http://schemas.openxmlformats.org/officeDocument/2006/relationships/image" Target="../media/image59.jpeg"/><Relationship Id="rId4" Type="http://schemas.openxmlformats.org/officeDocument/2006/relationships/image" Target="../media/image42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6" Type="http://schemas.openxmlformats.org/officeDocument/2006/relationships/image" Target="../media/image60.png"/><Relationship Id="rId5" Type="http://schemas.openxmlformats.org/officeDocument/2006/relationships/image" Target="../media/image59.jpeg"/><Relationship Id="rId4" Type="http://schemas.openxmlformats.org/officeDocument/2006/relationships/image" Target="../media/image42.jpe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28.jpe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60.png"/><Relationship Id="rId5" Type="http://schemas.openxmlformats.org/officeDocument/2006/relationships/image" Target="../media/image59.jpeg"/><Relationship Id="rId4" Type="http://schemas.openxmlformats.org/officeDocument/2006/relationships/image" Target="../media/image42.jpeg"/></Relationships>
</file>

<file path=ppt/slides/_rels/slide5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42.jpeg"/><Relationship Id="rId7" Type="http://schemas.openxmlformats.org/officeDocument/2006/relationships/image" Target="../media/image48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6.jpeg"/><Relationship Id="rId5" Type="http://schemas.openxmlformats.org/officeDocument/2006/relationships/image" Target="../media/image9.emf"/><Relationship Id="rId10" Type="http://schemas.openxmlformats.org/officeDocument/2006/relationships/oleObject" Target="../embeddings/oleObject3.bin"/><Relationship Id="rId4" Type="http://schemas.openxmlformats.org/officeDocument/2006/relationships/oleObject" Target="../embeddings/oleObject2.bin"/><Relationship Id="rId9" Type="http://schemas.openxmlformats.org/officeDocument/2006/relationships/image" Target="../media/image23.png"/></Relationships>
</file>

<file path=ppt/slides/_rels/slide6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42.jpeg"/><Relationship Id="rId7" Type="http://schemas.openxmlformats.org/officeDocument/2006/relationships/image" Target="../media/image48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3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62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png"/><Relationship Id="rId5" Type="http://schemas.openxmlformats.org/officeDocument/2006/relationships/image" Target="../media/image63.png"/><Relationship Id="rId4" Type="http://schemas.openxmlformats.org/officeDocument/2006/relationships/image" Target="../media/image53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4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5" Type="http://schemas.openxmlformats.org/officeDocument/2006/relationships/image" Target="../media/image4.png"/><Relationship Id="rId4" Type="http://schemas.openxmlformats.org/officeDocument/2006/relationships/image" Target="../media/image15.sv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6" Type="http://schemas.openxmlformats.org/officeDocument/2006/relationships/image" Target="../media/image35.png"/><Relationship Id="rId5" Type="http://schemas.openxmlformats.org/officeDocument/2006/relationships/image" Target="../media/image43.png"/><Relationship Id="rId4" Type="http://schemas.openxmlformats.org/officeDocument/2006/relationships/image" Target="../media/image65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6" Type="http://schemas.openxmlformats.org/officeDocument/2006/relationships/image" Target="../media/image35.png"/><Relationship Id="rId5" Type="http://schemas.openxmlformats.org/officeDocument/2006/relationships/image" Target="../media/image43.png"/><Relationship Id="rId4" Type="http://schemas.openxmlformats.org/officeDocument/2006/relationships/image" Target="../media/image65.jpe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6" Type="http://schemas.openxmlformats.org/officeDocument/2006/relationships/image" Target="../media/image66.png"/><Relationship Id="rId5" Type="http://schemas.openxmlformats.org/officeDocument/2006/relationships/image" Target="../media/image43.png"/><Relationship Id="rId4" Type="http://schemas.openxmlformats.org/officeDocument/2006/relationships/image" Target="../media/image65.jpe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28.jpeg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6" Type="http://schemas.openxmlformats.org/officeDocument/2006/relationships/image" Target="../media/image66.png"/><Relationship Id="rId5" Type="http://schemas.openxmlformats.org/officeDocument/2006/relationships/image" Target="../media/image43.png"/><Relationship Id="rId4" Type="http://schemas.openxmlformats.org/officeDocument/2006/relationships/image" Target="../media/image65.jpe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7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7.png"/><Relationship Id="rId4" Type="http://schemas.openxmlformats.org/officeDocument/2006/relationships/image" Target="../media/image67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7.png"/><Relationship Id="rId4" Type="http://schemas.openxmlformats.org/officeDocument/2006/relationships/image" Target="../media/image6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16.jpeg"/><Relationship Id="rId10" Type="http://schemas.openxmlformats.org/officeDocument/2006/relationships/image" Target="../media/image26.png"/><Relationship Id="rId4" Type="http://schemas.openxmlformats.org/officeDocument/2006/relationships/image" Target="../media/image9.emf"/><Relationship Id="rId9" Type="http://schemas.openxmlformats.org/officeDocument/2006/relationships/image" Target="../media/image25.sv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png"/><Relationship Id="rId5" Type="http://schemas.microsoft.com/office/2007/relationships/hdphoto" Target="../media/hdphoto2.wdp"/><Relationship Id="rId4" Type="http://schemas.openxmlformats.org/officeDocument/2006/relationships/image" Target="../media/image48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9.jpe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png"/><Relationship Id="rId4" Type="http://schemas.openxmlformats.org/officeDocument/2006/relationships/image" Target="../media/image51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png"/><Relationship Id="rId4" Type="http://schemas.openxmlformats.org/officeDocument/2006/relationships/image" Target="../media/image32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2.png"/><Relationship Id="rId5" Type="http://schemas.openxmlformats.org/officeDocument/2006/relationships/image" Target="../media/image68.png"/><Relationship Id="rId4" Type="http://schemas.openxmlformats.org/officeDocument/2006/relationships/image" Target="../media/image53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48.png"/><Relationship Id="rId4" Type="http://schemas.openxmlformats.org/officeDocument/2006/relationships/image" Target="../media/image68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9.jpe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png"/><Relationship Id="rId4" Type="http://schemas.openxmlformats.org/officeDocument/2006/relationships/image" Target="../media/image51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png"/><Relationship Id="rId4" Type="http://schemas.openxmlformats.org/officeDocument/2006/relationships/image" Target="../media/image32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7" Type="http://schemas.openxmlformats.org/officeDocument/2006/relationships/image" Target="../media/image61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2.png"/><Relationship Id="rId5" Type="http://schemas.openxmlformats.org/officeDocument/2006/relationships/image" Target="../media/image68.png"/><Relationship Id="rId4" Type="http://schemas.openxmlformats.org/officeDocument/2006/relationships/image" Target="../media/image53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5" Type="http://schemas.openxmlformats.org/officeDocument/2006/relationships/image" Target="../media/image4.png"/><Relationship Id="rId4" Type="http://schemas.openxmlformats.org/officeDocument/2006/relationships/image" Target="../media/image15.svg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5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image" Target="../media/image2.png"/><Relationship Id="rId11" Type="http://schemas.openxmlformats.org/officeDocument/2006/relationships/image" Target="../media/image71.png"/><Relationship Id="rId5" Type="http://schemas.openxmlformats.org/officeDocument/2006/relationships/image" Target="../media/image16.jpeg"/><Relationship Id="rId10" Type="http://schemas.openxmlformats.org/officeDocument/2006/relationships/image" Target="../media/image70.png"/><Relationship Id="rId4" Type="http://schemas.openxmlformats.org/officeDocument/2006/relationships/image" Target="../media/image9.emf"/><Relationship Id="rId9" Type="http://schemas.openxmlformats.org/officeDocument/2006/relationships/image" Target="../media/image21.sv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png"/><Relationship Id="rId5" Type="http://schemas.microsoft.com/office/2007/relationships/hdphoto" Target="../media/hdphoto2.wdp"/><Relationship Id="rId4" Type="http://schemas.openxmlformats.org/officeDocument/2006/relationships/image" Target="../media/image48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62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png"/><Relationship Id="rId5" Type="http://schemas.openxmlformats.org/officeDocument/2006/relationships/image" Target="../media/image75.png"/><Relationship Id="rId4" Type="http://schemas.openxmlformats.org/officeDocument/2006/relationships/image" Target="../media/image74.jpe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6.png"/><Relationship Id="rId5" Type="http://schemas.microsoft.com/office/2007/relationships/hdphoto" Target="../media/hdphoto2.wdp"/><Relationship Id="rId4" Type="http://schemas.openxmlformats.org/officeDocument/2006/relationships/image" Target="../media/image48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6.png"/><Relationship Id="rId4" Type="http://schemas.openxmlformats.org/officeDocument/2006/relationships/image" Target="../media/image74.jpe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5" Type="http://schemas.openxmlformats.org/officeDocument/2006/relationships/image" Target="../media/image4.png"/><Relationship Id="rId4" Type="http://schemas.openxmlformats.org/officeDocument/2006/relationships/image" Target="../media/image15.sv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0.jpeg"/><Relationship Id="rId4" Type="http://schemas.openxmlformats.org/officeDocument/2006/relationships/image" Target="../media/image7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316E4EE6-5FAC-D959-07DF-97F11297B41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Freeform 2"/>
          <p:cNvSpPr/>
          <p:nvPr/>
        </p:nvSpPr>
        <p:spPr>
          <a:xfrm>
            <a:off x="0" y="5198816"/>
            <a:ext cx="1342175" cy="1663803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7365784" y="5005471"/>
            <a:ext cx="1778216" cy="1877929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45B0A1E8-F2BA-31DC-A793-BDED4E478A5A}"/>
              </a:ext>
            </a:extLst>
          </p:cNvPr>
          <p:cNvSpPr txBox="1"/>
          <p:nvPr/>
        </p:nvSpPr>
        <p:spPr>
          <a:xfrm>
            <a:off x="2250948" y="5073967"/>
            <a:ext cx="4642105" cy="410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 rtl="1">
              <a:defRPr/>
            </a:pPr>
            <a:r>
              <a:rPr lang="ar-MA" sz="2667" b="1" ker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رحلة 1</a:t>
            </a:r>
            <a:endParaRPr lang="fr-MA" sz="2667" b="1" ker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28FAC4EF-0195-F11C-59A9-D01C957E9116}"/>
              </a:ext>
            </a:extLst>
          </p:cNvPr>
          <p:cNvSpPr/>
          <p:nvPr/>
        </p:nvSpPr>
        <p:spPr>
          <a:xfrm>
            <a:off x="6971239" y="1201614"/>
            <a:ext cx="1488271" cy="158825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4B9807-F39C-9CBB-DAEA-3ECF9732CB6E}"/>
              </a:ext>
            </a:extLst>
          </p:cNvPr>
          <p:cNvSpPr txBox="1"/>
          <p:nvPr/>
        </p:nvSpPr>
        <p:spPr>
          <a:xfrm>
            <a:off x="6796058" y="1671862"/>
            <a:ext cx="1838633" cy="436017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34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1" i="0" u="none" strike="noStrike" kern="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مستوى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2166C54-286D-1A8E-39B4-57843635F782}"/>
              </a:ext>
            </a:extLst>
          </p:cNvPr>
          <p:cNvSpPr txBox="1"/>
          <p:nvPr/>
        </p:nvSpPr>
        <p:spPr>
          <a:xfrm>
            <a:off x="7264400" y="2102247"/>
            <a:ext cx="914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FCBF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  <a:endParaRPr kumimoji="0" lang="fr-MA" sz="3600" b="1" i="0" u="none" strike="noStrike" kern="1200" cap="none" spc="0" normalizeH="0" baseline="0" noProof="0" dirty="0">
              <a:ln>
                <a:noFill/>
              </a:ln>
              <a:solidFill>
                <a:srgbClr val="FCBF1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B55E736C-F490-2EF9-2BD4-B1E6C0ACC055}"/>
              </a:ext>
            </a:extLst>
          </p:cNvPr>
          <p:cNvSpPr txBox="1"/>
          <p:nvPr/>
        </p:nvSpPr>
        <p:spPr>
          <a:xfrm>
            <a:off x="2285747" y="5073967"/>
            <a:ext cx="4642105" cy="410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6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مرحلة 1</a:t>
            </a:r>
            <a:endParaRPr kumimoji="0" lang="fr-MA" sz="2667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5" name="Picture 2" descr="الصفحة الرئيسية">
            <a:extLst>
              <a:ext uri="{FF2B5EF4-FFF2-40B4-BE49-F238E27FC236}">
                <a16:creationId xmlns:a16="http://schemas.microsoft.com/office/drawing/2014/main" id="{0CE446C7-1A2A-1B03-369C-CD46307E5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953" y="270881"/>
            <a:ext cx="4642105" cy="703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3">
            <a:extLst>
              <a:ext uri="{FF2B5EF4-FFF2-40B4-BE49-F238E27FC236}">
                <a16:creationId xmlns:a16="http://schemas.microsoft.com/office/drawing/2014/main" id="{4A815909-2A4C-1178-F971-508B932A2579}"/>
              </a:ext>
            </a:extLst>
          </p:cNvPr>
          <p:cNvSpPr txBox="1"/>
          <p:nvPr/>
        </p:nvSpPr>
        <p:spPr>
          <a:xfrm>
            <a:off x="2068302" y="1852212"/>
            <a:ext cx="4642105" cy="6987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52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6000" b="1" i="0" u="none" strike="noStrike" kern="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رياضيات</a:t>
            </a:r>
            <a:endParaRPr kumimoji="0" lang="en-US" sz="6000" b="1" i="0" u="none" strike="noStrike" kern="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ZoneTexte 4">
            <a:extLst>
              <a:ext uri="{FF2B5EF4-FFF2-40B4-BE49-F238E27FC236}">
                <a16:creationId xmlns:a16="http://schemas.microsoft.com/office/drawing/2014/main" id="{8F9B8CD2-6BCC-6294-7C9D-65F6E1545EFB}"/>
              </a:ext>
            </a:extLst>
          </p:cNvPr>
          <p:cNvSpPr txBox="1"/>
          <p:nvPr/>
        </p:nvSpPr>
        <p:spPr>
          <a:xfrm>
            <a:off x="2631441" y="6092366"/>
            <a:ext cx="402335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333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سخة تجريبية موجهة لمؤسسات الريادة</a:t>
            </a:r>
          </a:p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333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سخة قيد التطوير</a:t>
            </a:r>
          </a:p>
        </p:txBody>
      </p:sp>
      <p:sp>
        <p:nvSpPr>
          <p:cNvPr id="19" name="TextBox 2">
            <a:extLst>
              <a:ext uri="{FF2B5EF4-FFF2-40B4-BE49-F238E27FC236}">
                <a16:creationId xmlns:a16="http://schemas.microsoft.com/office/drawing/2014/main" id="{01830A1B-7C91-19D3-13F4-8B743F4BB460}"/>
              </a:ext>
            </a:extLst>
          </p:cNvPr>
          <p:cNvSpPr txBox="1"/>
          <p:nvPr/>
        </p:nvSpPr>
        <p:spPr>
          <a:xfrm>
            <a:off x="466622" y="3075370"/>
            <a:ext cx="7992888" cy="51200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1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ar-MA" sz="2667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تفكيك العددين 2 و3.</a:t>
            </a:r>
            <a:endParaRPr kumimoji="0" lang="fr-FR" sz="2665" b="1" i="0" u="none" strike="noStrike" kern="0" cap="none" spc="0" normalizeH="0" baseline="0" noProof="0" dirty="0">
              <a:ln>
                <a:noFill/>
              </a:ln>
              <a:solidFill>
                <a:srgbClr val="10658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1" name="Groupe 3">
            <a:extLst>
              <a:ext uri="{FF2B5EF4-FFF2-40B4-BE49-F238E27FC236}">
                <a16:creationId xmlns:a16="http://schemas.microsoft.com/office/drawing/2014/main" id="{5EA82A9E-D928-9705-D35C-3296917CBBE6}"/>
              </a:ext>
            </a:extLst>
          </p:cNvPr>
          <p:cNvGrpSpPr/>
          <p:nvPr/>
        </p:nvGrpSpPr>
        <p:grpSpPr>
          <a:xfrm>
            <a:off x="3108111" y="4517342"/>
            <a:ext cx="2927777" cy="1417690"/>
            <a:chOff x="3093034" y="4654860"/>
            <a:chExt cx="2927777" cy="1417690"/>
          </a:xfrm>
        </p:grpSpPr>
        <p:grpSp>
          <p:nvGrpSpPr>
            <p:cNvPr id="22" name="Groupe 101">
              <a:extLst>
                <a:ext uri="{FF2B5EF4-FFF2-40B4-BE49-F238E27FC236}">
                  <a16:creationId xmlns:a16="http://schemas.microsoft.com/office/drawing/2014/main" id="{7F7EB676-0CAA-AA6D-EC0C-4E073D1CA9D3}"/>
                </a:ext>
              </a:extLst>
            </p:cNvPr>
            <p:cNvGrpSpPr/>
            <p:nvPr/>
          </p:nvGrpSpPr>
          <p:grpSpPr>
            <a:xfrm flipH="1">
              <a:off x="3123190" y="4654860"/>
              <a:ext cx="2897621" cy="1417690"/>
              <a:chOff x="2090564" y="4775947"/>
              <a:chExt cx="3201302" cy="1417690"/>
            </a:xfrm>
          </p:grpSpPr>
          <p:sp>
            <p:nvSpPr>
              <p:cNvPr id="25" name="Forme libre : forme 100">
                <a:extLst>
                  <a:ext uri="{FF2B5EF4-FFF2-40B4-BE49-F238E27FC236}">
                    <a16:creationId xmlns:a16="http://schemas.microsoft.com/office/drawing/2014/main" id="{EE0FA989-1A68-F9C3-82C4-BC6BAEB5A70B}"/>
                  </a:ext>
                </a:extLst>
              </p:cNvPr>
              <p:cNvSpPr/>
              <p:nvPr/>
            </p:nvSpPr>
            <p:spPr>
              <a:xfrm rot="21338648" flipV="1">
                <a:off x="2778467" y="5313022"/>
                <a:ext cx="2513399" cy="880615"/>
              </a:xfrm>
              <a:custGeom>
                <a:avLst/>
                <a:gdLst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6902"/>
                  <a:gd name="connsiteX1" fmla="*/ 2706255 w 2969491"/>
                  <a:gd name="connsiteY1" fmla="*/ 0 h 656902"/>
                  <a:gd name="connsiteX2" fmla="*/ 2890982 w 2969491"/>
                  <a:gd name="connsiteY2" fmla="*/ 78509 h 656902"/>
                  <a:gd name="connsiteX3" fmla="*/ 2969491 w 2969491"/>
                  <a:gd name="connsiteY3" fmla="*/ 258618 h 656902"/>
                  <a:gd name="connsiteX4" fmla="*/ 2872509 w 2969491"/>
                  <a:gd name="connsiteY4" fmla="*/ 378691 h 656902"/>
                  <a:gd name="connsiteX5" fmla="*/ 170873 w 2969491"/>
                  <a:gd name="connsiteY5" fmla="*/ 651164 h 656902"/>
                  <a:gd name="connsiteX6" fmla="*/ 9236 w 2969491"/>
                  <a:gd name="connsiteY6" fmla="*/ 531091 h 656902"/>
                  <a:gd name="connsiteX7" fmla="*/ 0 w 2969491"/>
                  <a:gd name="connsiteY7" fmla="*/ 207818 h 656902"/>
                  <a:gd name="connsiteX8" fmla="*/ 138545 w 2969491"/>
                  <a:gd name="connsiteY8" fmla="*/ 124691 h 656902"/>
                  <a:gd name="connsiteX0" fmla="*/ 138545 w 2969491"/>
                  <a:gd name="connsiteY0" fmla="*/ 124890 h 657101"/>
                  <a:gd name="connsiteX1" fmla="*/ 2706255 w 2969491"/>
                  <a:gd name="connsiteY1" fmla="*/ 199 h 657101"/>
                  <a:gd name="connsiteX2" fmla="*/ 2890982 w 2969491"/>
                  <a:gd name="connsiteY2" fmla="*/ 78708 h 657101"/>
                  <a:gd name="connsiteX3" fmla="*/ 2969491 w 2969491"/>
                  <a:gd name="connsiteY3" fmla="*/ 258817 h 657101"/>
                  <a:gd name="connsiteX4" fmla="*/ 2872509 w 2969491"/>
                  <a:gd name="connsiteY4" fmla="*/ 378890 h 657101"/>
                  <a:gd name="connsiteX5" fmla="*/ 170873 w 2969491"/>
                  <a:gd name="connsiteY5" fmla="*/ 651363 h 657101"/>
                  <a:gd name="connsiteX6" fmla="*/ 9236 w 2969491"/>
                  <a:gd name="connsiteY6" fmla="*/ 531290 h 657101"/>
                  <a:gd name="connsiteX7" fmla="*/ 0 w 2969491"/>
                  <a:gd name="connsiteY7" fmla="*/ 208017 h 657101"/>
                  <a:gd name="connsiteX8" fmla="*/ 138545 w 2969491"/>
                  <a:gd name="connsiteY8" fmla="*/ 124890 h 657101"/>
                  <a:gd name="connsiteX0" fmla="*/ 138545 w 2969491"/>
                  <a:gd name="connsiteY0" fmla="*/ 125008 h 657219"/>
                  <a:gd name="connsiteX1" fmla="*/ 2706255 w 2969491"/>
                  <a:gd name="connsiteY1" fmla="*/ 317 h 657219"/>
                  <a:gd name="connsiteX2" fmla="*/ 2890982 w 2969491"/>
                  <a:gd name="connsiteY2" fmla="*/ 78826 h 657219"/>
                  <a:gd name="connsiteX3" fmla="*/ 2969491 w 2969491"/>
                  <a:gd name="connsiteY3" fmla="*/ 258935 h 657219"/>
                  <a:gd name="connsiteX4" fmla="*/ 2872509 w 2969491"/>
                  <a:gd name="connsiteY4" fmla="*/ 379008 h 657219"/>
                  <a:gd name="connsiteX5" fmla="*/ 170873 w 2969491"/>
                  <a:gd name="connsiteY5" fmla="*/ 651481 h 657219"/>
                  <a:gd name="connsiteX6" fmla="*/ 9236 w 2969491"/>
                  <a:gd name="connsiteY6" fmla="*/ 531408 h 657219"/>
                  <a:gd name="connsiteX7" fmla="*/ 0 w 2969491"/>
                  <a:gd name="connsiteY7" fmla="*/ 208135 h 657219"/>
                  <a:gd name="connsiteX8" fmla="*/ 138545 w 2969491"/>
                  <a:gd name="connsiteY8" fmla="*/ 125008 h 657219"/>
                  <a:gd name="connsiteX0" fmla="*/ 138545 w 2972005"/>
                  <a:gd name="connsiteY0" fmla="*/ 125008 h 657219"/>
                  <a:gd name="connsiteX1" fmla="*/ 2706255 w 2972005"/>
                  <a:gd name="connsiteY1" fmla="*/ 317 h 657219"/>
                  <a:gd name="connsiteX2" fmla="*/ 2890982 w 2972005"/>
                  <a:gd name="connsiteY2" fmla="*/ 78826 h 657219"/>
                  <a:gd name="connsiteX3" fmla="*/ 2969491 w 2972005"/>
                  <a:gd name="connsiteY3" fmla="*/ 258935 h 657219"/>
                  <a:gd name="connsiteX4" fmla="*/ 2872509 w 2972005"/>
                  <a:gd name="connsiteY4" fmla="*/ 379008 h 657219"/>
                  <a:gd name="connsiteX5" fmla="*/ 170873 w 2972005"/>
                  <a:gd name="connsiteY5" fmla="*/ 651481 h 657219"/>
                  <a:gd name="connsiteX6" fmla="*/ 9236 w 2972005"/>
                  <a:gd name="connsiteY6" fmla="*/ 531408 h 657219"/>
                  <a:gd name="connsiteX7" fmla="*/ 0 w 2972005"/>
                  <a:gd name="connsiteY7" fmla="*/ 208135 h 657219"/>
                  <a:gd name="connsiteX8" fmla="*/ 138545 w 2972005"/>
                  <a:gd name="connsiteY8" fmla="*/ 125008 h 657219"/>
                  <a:gd name="connsiteX0" fmla="*/ 138545 w 2973912"/>
                  <a:gd name="connsiteY0" fmla="*/ 125008 h 657219"/>
                  <a:gd name="connsiteX1" fmla="*/ 2706255 w 2973912"/>
                  <a:gd name="connsiteY1" fmla="*/ 317 h 657219"/>
                  <a:gd name="connsiteX2" fmla="*/ 2890982 w 2973912"/>
                  <a:gd name="connsiteY2" fmla="*/ 78826 h 657219"/>
                  <a:gd name="connsiteX3" fmla="*/ 2969491 w 2973912"/>
                  <a:gd name="connsiteY3" fmla="*/ 258935 h 657219"/>
                  <a:gd name="connsiteX4" fmla="*/ 2872509 w 2973912"/>
                  <a:gd name="connsiteY4" fmla="*/ 379008 h 657219"/>
                  <a:gd name="connsiteX5" fmla="*/ 170873 w 2973912"/>
                  <a:gd name="connsiteY5" fmla="*/ 651481 h 657219"/>
                  <a:gd name="connsiteX6" fmla="*/ 9236 w 2973912"/>
                  <a:gd name="connsiteY6" fmla="*/ 531408 h 657219"/>
                  <a:gd name="connsiteX7" fmla="*/ 0 w 2973912"/>
                  <a:gd name="connsiteY7" fmla="*/ 208135 h 657219"/>
                  <a:gd name="connsiteX8" fmla="*/ 138545 w 2973912"/>
                  <a:gd name="connsiteY8" fmla="*/ 125008 h 657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3912" h="657219">
                    <a:moveTo>
                      <a:pt x="138545" y="125008"/>
                    </a:moveTo>
                    <a:lnTo>
                      <a:pt x="2706255" y="317"/>
                    </a:lnTo>
                    <a:cubicBezTo>
                      <a:pt x="2828121" y="-3658"/>
                      <a:pt x="2867087" y="30047"/>
                      <a:pt x="2890982" y="78826"/>
                    </a:cubicBezTo>
                    <a:lnTo>
                      <a:pt x="2969491" y="258935"/>
                    </a:lnTo>
                    <a:cubicBezTo>
                      <a:pt x="2987406" y="336640"/>
                      <a:pt x="2950053" y="379178"/>
                      <a:pt x="2872509" y="379008"/>
                    </a:cubicBezTo>
                    <a:lnTo>
                      <a:pt x="170873" y="651481"/>
                    </a:lnTo>
                    <a:cubicBezTo>
                      <a:pt x="101922" y="666723"/>
                      <a:pt x="5337" y="659356"/>
                      <a:pt x="9236" y="531408"/>
                    </a:cubicBezTo>
                    <a:lnTo>
                      <a:pt x="0" y="208135"/>
                    </a:lnTo>
                    <a:cubicBezTo>
                      <a:pt x="26085" y="152793"/>
                      <a:pt x="37097" y="137645"/>
                      <a:pt x="138545" y="125008"/>
                    </a:cubicBezTo>
                    <a:close/>
                  </a:path>
                </a:pathLst>
              </a:custGeom>
              <a:solidFill>
                <a:srgbClr val="70B1B6"/>
              </a:solidFill>
              <a:ln w="136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orme libre : forme 99">
                <a:extLst>
                  <a:ext uri="{FF2B5EF4-FFF2-40B4-BE49-F238E27FC236}">
                    <a16:creationId xmlns:a16="http://schemas.microsoft.com/office/drawing/2014/main" id="{02C73B46-B178-E9D0-1D59-8BF7EFCE5B78}"/>
                  </a:ext>
                </a:extLst>
              </p:cNvPr>
              <p:cNvSpPr/>
              <p:nvPr/>
            </p:nvSpPr>
            <p:spPr>
              <a:xfrm rot="261352" flipH="1" flipV="1">
                <a:off x="2090564" y="4775947"/>
                <a:ext cx="2707398" cy="880615"/>
              </a:xfrm>
              <a:custGeom>
                <a:avLst/>
                <a:gdLst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6902"/>
                  <a:gd name="connsiteX1" fmla="*/ 2706255 w 2969491"/>
                  <a:gd name="connsiteY1" fmla="*/ 0 h 656902"/>
                  <a:gd name="connsiteX2" fmla="*/ 2890982 w 2969491"/>
                  <a:gd name="connsiteY2" fmla="*/ 78509 h 656902"/>
                  <a:gd name="connsiteX3" fmla="*/ 2969491 w 2969491"/>
                  <a:gd name="connsiteY3" fmla="*/ 258618 h 656902"/>
                  <a:gd name="connsiteX4" fmla="*/ 2872509 w 2969491"/>
                  <a:gd name="connsiteY4" fmla="*/ 378691 h 656902"/>
                  <a:gd name="connsiteX5" fmla="*/ 170873 w 2969491"/>
                  <a:gd name="connsiteY5" fmla="*/ 651164 h 656902"/>
                  <a:gd name="connsiteX6" fmla="*/ 9236 w 2969491"/>
                  <a:gd name="connsiteY6" fmla="*/ 531091 h 656902"/>
                  <a:gd name="connsiteX7" fmla="*/ 0 w 2969491"/>
                  <a:gd name="connsiteY7" fmla="*/ 207818 h 656902"/>
                  <a:gd name="connsiteX8" fmla="*/ 138545 w 2969491"/>
                  <a:gd name="connsiteY8" fmla="*/ 124691 h 656902"/>
                  <a:gd name="connsiteX0" fmla="*/ 138545 w 2969491"/>
                  <a:gd name="connsiteY0" fmla="*/ 124890 h 657101"/>
                  <a:gd name="connsiteX1" fmla="*/ 2706255 w 2969491"/>
                  <a:gd name="connsiteY1" fmla="*/ 199 h 657101"/>
                  <a:gd name="connsiteX2" fmla="*/ 2890982 w 2969491"/>
                  <a:gd name="connsiteY2" fmla="*/ 78708 h 657101"/>
                  <a:gd name="connsiteX3" fmla="*/ 2969491 w 2969491"/>
                  <a:gd name="connsiteY3" fmla="*/ 258817 h 657101"/>
                  <a:gd name="connsiteX4" fmla="*/ 2872509 w 2969491"/>
                  <a:gd name="connsiteY4" fmla="*/ 378890 h 657101"/>
                  <a:gd name="connsiteX5" fmla="*/ 170873 w 2969491"/>
                  <a:gd name="connsiteY5" fmla="*/ 651363 h 657101"/>
                  <a:gd name="connsiteX6" fmla="*/ 9236 w 2969491"/>
                  <a:gd name="connsiteY6" fmla="*/ 531290 h 657101"/>
                  <a:gd name="connsiteX7" fmla="*/ 0 w 2969491"/>
                  <a:gd name="connsiteY7" fmla="*/ 208017 h 657101"/>
                  <a:gd name="connsiteX8" fmla="*/ 138545 w 2969491"/>
                  <a:gd name="connsiteY8" fmla="*/ 124890 h 657101"/>
                  <a:gd name="connsiteX0" fmla="*/ 138545 w 2969491"/>
                  <a:gd name="connsiteY0" fmla="*/ 125008 h 657219"/>
                  <a:gd name="connsiteX1" fmla="*/ 2706255 w 2969491"/>
                  <a:gd name="connsiteY1" fmla="*/ 317 h 657219"/>
                  <a:gd name="connsiteX2" fmla="*/ 2890982 w 2969491"/>
                  <a:gd name="connsiteY2" fmla="*/ 78826 h 657219"/>
                  <a:gd name="connsiteX3" fmla="*/ 2969491 w 2969491"/>
                  <a:gd name="connsiteY3" fmla="*/ 258935 h 657219"/>
                  <a:gd name="connsiteX4" fmla="*/ 2872509 w 2969491"/>
                  <a:gd name="connsiteY4" fmla="*/ 379008 h 657219"/>
                  <a:gd name="connsiteX5" fmla="*/ 170873 w 2969491"/>
                  <a:gd name="connsiteY5" fmla="*/ 651481 h 657219"/>
                  <a:gd name="connsiteX6" fmla="*/ 9236 w 2969491"/>
                  <a:gd name="connsiteY6" fmla="*/ 531408 h 657219"/>
                  <a:gd name="connsiteX7" fmla="*/ 0 w 2969491"/>
                  <a:gd name="connsiteY7" fmla="*/ 208135 h 657219"/>
                  <a:gd name="connsiteX8" fmla="*/ 138545 w 2969491"/>
                  <a:gd name="connsiteY8" fmla="*/ 125008 h 657219"/>
                  <a:gd name="connsiteX0" fmla="*/ 138545 w 2972005"/>
                  <a:gd name="connsiteY0" fmla="*/ 125008 h 657219"/>
                  <a:gd name="connsiteX1" fmla="*/ 2706255 w 2972005"/>
                  <a:gd name="connsiteY1" fmla="*/ 317 h 657219"/>
                  <a:gd name="connsiteX2" fmla="*/ 2890982 w 2972005"/>
                  <a:gd name="connsiteY2" fmla="*/ 78826 h 657219"/>
                  <a:gd name="connsiteX3" fmla="*/ 2969491 w 2972005"/>
                  <a:gd name="connsiteY3" fmla="*/ 258935 h 657219"/>
                  <a:gd name="connsiteX4" fmla="*/ 2872509 w 2972005"/>
                  <a:gd name="connsiteY4" fmla="*/ 379008 h 657219"/>
                  <a:gd name="connsiteX5" fmla="*/ 170873 w 2972005"/>
                  <a:gd name="connsiteY5" fmla="*/ 651481 h 657219"/>
                  <a:gd name="connsiteX6" fmla="*/ 9236 w 2972005"/>
                  <a:gd name="connsiteY6" fmla="*/ 531408 h 657219"/>
                  <a:gd name="connsiteX7" fmla="*/ 0 w 2972005"/>
                  <a:gd name="connsiteY7" fmla="*/ 208135 h 657219"/>
                  <a:gd name="connsiteX8" fmla="*/ 138545 w 2972005"/>
                  <a:gd name="connsiteY8" fmla="*/ 125008 h 657219"/>
                  <a:gd name="connsiteX0" fmla="*/ 138545 w 2973912"/>
                  <a:gd name="connsiteY0" fmla="*/ 125008 h 657219"/>
                  <a:gd name="connsiteX1" fmla="*/ 2706255 w 2973912"/>
                  <a:gd name="connsiteY1" fmla="*/ 317 h 657219"/>
                  <a:gd name="connsiteX2" fmla="*/ 2890982 w 2973912"/>
                  <a:gd name="connsiteY2" fmla="*/ 78826 h 657219"/>
                  <a:gd name="connsiteX3" fmla="*/ 2969491 w 2973912"/>
                  <a:gd name="connsiteY3" fmla="*/ 258935 h 657219"/>
                  <a:gd name="connsiteX4" fmla="*/ 2872509 w 2973912"/>
                  <a:gd name="connsiteY4" fmla="*/ 379008 h 657219"/>
                  <a:gd name="connsiteX5" fmla="*/ 170873 w 2973912"/>
                  <a:gd name="connsiteY5" fmla="*/ 651481 h 657219"/>
                  <a:gd name="connsiteX6" fmla="*/ 9236 w 2973912"/>
                  <a:gd name="connsiteY6" fmla="*/ 531408 h 657219"/>
                  <a:gd name="connsiteX7" fmla="*/ 0 w 2973912"/>
                  <a:gd name="connsiteY7" fmla="*/ 208135 h 657219"/>
                  <a:gd name="connsiteX8" fmla="*/ 138545 w 2973912"/>
                  <a:gd name="connsiteY8" fmla="*/ 125008 h 657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3912" h="657219">
                    <a:moveTo>
                      <a:pt x="138545" y="125008"/>
                    </a:moveTo>
                    <a:lnTo>
                      <a:pt x="2706255" y="317"/>
                    </a:lnTo>
                    <a:cubicBezTo>
                      <a:pt x="2828121" y="-3658"/>
                      <a:pt x="2867087" y="30047"/>
                      <a:pt x="2890982" y="78826"/>
                    </a:cubicBezTo>
                    <a:lnTo>
                      <a:pt x="2969491" y="258935"/>
                    </a:lnTo>
                    <a:cubicBezTo>
                      <a:pt x="2987406" y="336640"/>
                      <a:pt x="2950053" y="379178"/>
                      <a:pt x="2872509" y="379008"/>
                    </a:cubicBezTo>
                    <a:lnTo>
                      <a:pt x="170873" y="651481"/>
                    </a:lnTo>
                    <a:cubicBezTo>
                      <a:pt x="101922" y="666723"/>
                      <a:pt x="5337" y="659356"/>
                      <a:pt x="9236" y="531408"/>
                    </a:cubicBezTo>
                    <a:lnTo>
                      <a:pt x="0" y="208135"/>
                    </a:lnTo>
                    <a:cubicBezTo>
                      <a:pt x="26085" y="152793"/>
                      <a:pt x="37097" y="137645"/>
                      <a:pt x="138545" y="125008"/>
                    </a:cubicBezTo>
                    <a:close/>
                  </a:path>
                </a:pathLst>
              </a:custGeom>
              <a:solidFill>
                <a:srgbClr val="1E3F48"/>
              </a:solidFill>
              <a:ln w="136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3" name="ZoneTexte 103">
              <a:extLst>
                <a:ext uri="{FF2B5EF4-FFF2-40B4-BE49-F238E27FC236}">
                  <a16:creationId xmlns:a16="http://schemas.microsoft.com/office/drawing/2014/main" id="{1E5400B5-7BC7-0266-FD7A-80D1F6E5B564}"/>
                </a:ext>
              </a:extLst>
            </p:cNvPr>
            <p:cNvSpPr txBox="1"/>
            <p:nvPr/>
          </p:nvSpPr>
          <p:spPr>
            <a:xfrm>
              <a:off x="3448841" y="4793730"/>
              <a:ext cx="25103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667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ال</a:t>
              </a:r>
              <a:r>
                <a:rPr lang="ar-MA" sz="2667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أسبـــــــــــــــــــــــــــــــــــــــــوع</a:t>
              </a:r>
              <a:r>
                <a:rPr kumimoji="0" lang="ar-MA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</a:t>
              </a:r>
              <a:r>
                <a:rPr lang="ar-MA" sz="2667" b="1" kern="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4" name="ZoneTexte 104">
              <a:extLst>
                <a:ext uri="{FF2B5EF4-FFF2-40B4-BE49-F238E27FC236}">
                  <a16:creationId xmlns:a16="http://schemas.microsoft.com/office/drawing/2014/main" id="{F348931E-3B0C-075B-B62E-4475484F93BA}"/>
                </a:ext>
              </a:extLst>
            </p:cNvPr>
            <p:cNvSpPr txBox="1"/>
            <p:nvPr/>
          </p:nvSpPr>
          <p:spPr>
            <a:xfrm>
              <a:off x="3093034" y="5396701"/>
              <a:ext cx="233528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667" b="1" kern="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</a:t>
              </a:r>
              <a:r>
                <a:rPr kumimoji="0" lang="ar-MA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</a:t>
              </a:r>
              <a:r>
                <a:rPr kumimoji="0" lang="ar-MA" sz="2667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الثالث</a:t>
              </a:r>
              <a:endParaRPr lang="ar-MA" sz="2667" b="1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7" name="Groupe 96">
            <a:extLst>
              <a:ext uri="{FF2B5EF4-FFF2-40B4-BE49-F238E27FC236}">
                <a16:creationId xmlns:a16="http://schemas.microsoft.com/office/drawing/2014/main" id="{94366D79-CE63-19DD-E464-6CC4DCE8E246}"/>
              </a:ext>
            </a:extLst>
          </p:cNvPr>
          <p:cNvGrpSpPr/>
          <p:nvPr/>
        </p:nvGrpSpPr>
        <p:grpSpPr>
          <a:xfrm>
            <a:off x="5842136" y="4598635"/>
            <a:ext cx="1632900" cy="1356678"/>
            <a:chOff x="7066003" y="1822095"/>
            <a:chExt cx="1632900" cy="1356678"/>
          </a:xfrm>
        </p:grpSpPr>
        <p:grpSp>
          <p:nvGrpSpPr>
            <p:cNvPr id="28" name="Groupe 74">
              <a:extLst>
                <a:ext uri="{FF2B5EF4-FFF2-40B4-BE49-F238E27FC236}">
                  <a16:creationId xmlns:a16="http://schemas.microsoft.com/office/drawing/2014/main" id="{74116ED5-EC55-CAB3-89AB-B7402A4F0FF6}"/>
                </a:ext>
              </a:extLst>
            </p:cNvPr>
            <p:cNvGrpSpPr/>
            <p:nvPr/>
          </p:nvGrpSpPr>
          <p:grpSpPr>
            <a:xfrm flipH="1">
              <a:off x="7177562" y="1822095"/>
              <a:ext cx="1394889" cy="1356678"/>
              <a:chOff x="104413" y="285342"/>
              <a:chExt cx="2111436" cy="2053595"/>
            </a:xfrm>
          </p:grpSpPr>
          <p:sp>
            <p:nvSpPr>
              <p:cNvPr id="31" name="ZoneTexte 73">
                <a:extLst>
                  <a:ext uri="{FF2B5EF4-FFF2-40B4-BE49-F238E27FC236}">
                    <a16:creationId xmlns:a16="http://schemas.microsoft.com/office/drawing/2014/main" id="{96666752-657F-F88D-8EEF-F2539DAF9BAA}"/>
                  </a:ext>
                </a:extLst>
              </p:cNvPr>
              <p:cNvSpPr txBox="1"/>
              <p:nvPr/>
            </p:nvSpPr>
            <p:spPr>
              <a:xfrm rot="19636752">
                <a:off x="104413" y="536954"/>
                <a:ext cx="2052844" cy="1444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M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 Massir Ballpoint" panose="00000100000000000000" pitchFamily="2" charset="-78"/>
                    <a:ea typeface="+mn-ea"/>
                    <a:cs typeface="Boahmed Alhour" pitchFamily="2" charset="-78"/>
                  </a:rPr>
                  <a:t>المقاعد</a:t>
                </a:r>
              </a:p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M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 Massir Ballpoint" panose="00000100000000000000" pitchFamily="2" charset="-78"/>
                    <a:ea typeface="+mn-ea"/>
                    <a:cs typeface="Boahmed Alhour" pitchFamily="2" charset="-78"/>
                  </a:rPr>
                  <a:t>محدودة</a:t>
                </a:r>
                <a:endParaRPr kumimoji="0" lang="ar-MA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 Massir Ballpoint" panose="00000100000000000000" pitchFamily="2" charset="-78"/>
                  <a:ea typeface="+mn-ea"/>
                  <a:cs typeface="Boahmed Alhour" pitchFamily="2" charset="-78"/>
                </a:endParaRPr>
              </a:p>
            </p:txBody>
          </p:sp>
          <p:grpSp>
            <p:nvGrpSpPr>
              <p:cNvPr id="32" name="Graphique 72">
                <a:extLst>
                  <a:ext uri="{FF2B5EF4-FFF2-40B4-BE49-F238E27FC236}">
                    <a16:creationId xmlns:a16="http://schemas.microsoft.com/office/drawing/2014/main" id="{08A5D350-E27F-211B-C750-EEF8A7577276}"/>
                  </a:ext>
                </a:extLst>
              </p:cNvPr>
              <p:cNvGrpSpPr/>
              <p:nvPr/>
            </p:nvGrpSpPr>
            <p:grpSpPr>
              <a:xfrm>
                <a:off x="157532" y="285342"/>
                <a:ext cx="2058317" cy="2053595"/>
                <a:chOff x="157532" y="285342"/>
                <a:chExt cx="2058317" cy="2053595"/>
              </a:xfrm>
            </p:grpSpPr>
            <p:sp>
              <p:nvSpPr>
                <p:cNvPr id="33" name="Forme libre : forme 76">
                  <a:extLst>
                    <a:ext uri="{FF2B5EF4-FFF2-40B4-BE49-F238E27FC236}">
                      <a16:creationId xmlns:a16="http://schemas.microsoft.com/office/drawing/2014/main" id="{DA4A1B25-EF9B-0706-67CC-DB8EB976973C}"/>
                    </a:ext>
                  </a:extLst>
                </p:cNvPr>
                <p:cNvSpPr/>
                <p:nvPr/>
              </p:nvSpPr>
              <p:spPr>
                <a:xfrm>
                  <a:off x="157532" y="285342"/>
                  <a:ext cx="2058317" cy="2053595"/>
                </a:xfrm>
                <a:custGeom>
                  <a:avLst/>
                  <a:gdLst>
                    <a:gd name="connsiteX0" fmla="*/ 1980901 w 2058317"/>
                    <a:gd name="connsiteY0" fmla="*/ 1385151 h 2053595"/>
                    <a:gd name="connsiteX1" fmla="*/ 2008670 w 2058317"/>
                    <a:gd name="connsiteY1" fmla="*/ 1343789 h 2053595"/>
                    <a:gd name="connsiteX2" fmla="*/ 2009059 w 2058317"/>
                    <a:gd name="connsiteY2" fmla="*/ 1343401 h 2053595"/>
                    <a:gd name="connsiteX3" fmla="*/ 2057217 w 2058317"/>
                    <a:gd name="connsiteY3" fmla="*/ 980854 h 2053595"/>
                    <a:gd name="connsiteX4" fmla="*/ 1070165 w 2058317"/>
                    <a:gd name="connsiteY4" fmla="*/ 792 h 2053595"/>
                    <a:gd name="connsiteX5" fmla="*/ 0 w 2058317"/>
                    <a:gd name="connsiteY5" fmla="*/ 1029206 h 2053595"/>
                    <a:gd name="connsiteX6" fmla="*/ 925301 w 2058317"/>
                    <a:gd name="connsiteY6" fmla="*/ 2052960 h 2053595"/>
                    <a:gd name="connsiteX7" fmla="*/ 1003170 w 2058317"/>
                    <a:gd name="connsiteY7" fmla="*/ 2035289 h 2053595"/>
                    <a:gd name="connsiteX8" fmla="*/ 1980707 w 2058317"/>
                    <a:gd name="connsiteY8" fmla="*/ 1385928 h 2053595"/>
                    <a:gd name="connsiteX9" fmla="*/ 1980901 w 2058317"/>
                    <a:gd name="connsiteY9" fmla="*/ 1385151 h 2053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58317" h="2053595">
                      <a:moveTo>
                        <a:pt x="1980901" y="1385151"/>
                      </a:moveTo>
                      <a:cubicBezTo>
                        <a:pt x="1991388" y="1372140"/>
                        <a:pt x="1997019" y="1356023"/>
                        <a:pt x="2008670" y="1343789"/>
                      </a:cubicBezTo>
                      <a:cubicBezTo>
                        <a:pt x="2008864" y="1343595"/>
                        <a:pt x="2009059" y="1343595"/>
                        <a:pt x="2009059" y="1343401"/>
                      </a:cubicBezTo>
                      <a:cubicBezTo>
                        <a:pt x="2045566" y="1229801"/>
                        <a:pt x="2063043" y="1107852"/>
                        <a:pt x="2057217" y="980854"/>
                      </a:cubicBezTo>
                      <a:cubicBezTo>
                        <a:pt x="2032944" y="450529"/>
                        <a:pt x="1600489" y="21376"/>
                        <a:pt x="1070165" y="792"/>
                      </a:cubicBezTo>
                      <a:cubicBezTo>
                        <a:pt x="483137" y="-21928"/>
                        <a:pt x="0" y="447228"/>
                        <a:pt x="0" y="1029206"/>
                      </a:cubicBezTo>
                      <a:cubicBezTo>
                        <a:pt x="0" y="1562444"/>
                        <a:pt x="405657" y="2000918"/>
                        <a:pt x="925301" y="2052960"/>
                      </a:cubicBezTo>
                      <a:cubicBezTo>
                        <a:pt x="952487" y="2055679"/>
                        <a:pt x="979868" y="2049659"/>
                        <a:pt x="1003170" y="2035289"/>
                      </a:cubicBezTo>
                      <a:cubicBezTo>
                        <a:pt x="1171142" y="1931593"/>
                        <a:pt x="1853709" y="1481273"/>
                        <a:pt x="1980707" y="1385928"/>
                      </a:cubicBezTo>
                      <a:cubicBezTo>
                        <a:pt x="1980707" y="1385733"/>
                        <a:pt x="1980707" y="1385345"/>
                        <a:pt x="1980901" y="1385151"/>
                      </a:cubicBezTo>
                      <a:close/>
                    </a:path>
                  </a:pathLst>
                </a:custGeom>
                <a:gradFill>
                  <a:gsLst>
                    <a:gs pos="50000">
                      <a:srgbClr val="38A4B4"/>
                    </a:gs>
                    <a:gs pos="0">
                      <a:srgbClr val="70B1B6"/>
                    </a:gs>
                    <a:gs pos="100000">
                      <a:srgbClr val="0097B2"/>
                    </a:gs>
                  </a:gsLst>
                  <a:lin ang="5400000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orme libre : forme 77">
                  <a:extLst>
                    <a:ext uri="{FF2B5EF4-FFF2-40B4-BE49-F238E27FC236}">
                      <a16:creationId xmlns:a16="http://schemas.microsoft.com/office/drawing/2014/main" id="{800696A1-46D9-C432-0608-AF9760014DE1}"/>
                    </a:ext>
                  </a:extLst>
                </p:cNvPr>
                <p:cNvSpPr/>
                <p:nvPr/>
              </p:nvSpPr>
              <p:spPr>
                <a:xfrm>
                  <a:off x="930202" y="1608353"/>
                  <a:ext cx="1239495" cy="722809"/>
                </a:xfrm>
                <a:custGeom>
                  <a:avLst/>
                  <a:gdLst>
                    <a:gd name="connsiteX0" fmla="*/ 1239496 w 1239495"/>
                    <a:gd name="connsiteY0" fmla="*/ 0 h 722809"/>
                    <a:gd name="connsiteX1" fmla="*/ 1149587 w 1239495"/>
                    <a:gd name="connsiteY1" fmla="*/ 36313 h 722809"/>
                    <a:gd name="connsiteX2" fmla="*/ 1039871 w 1239495"/>
                    <a:gd name="connsiteY2" fmla="*/ 41168 h 722809"/>
                    <a:gd name="connsiteX3" fmla="*/ 822382 w 1239495"/>
                    <a:gd name="connsiteY3" fmla="*/ 88549 h 722809"/>
                    <a:gd name="connsiteX4" fmla="*/ 624894 w 1239495"/>
                    <a:gd name="connsiteY4" fmla="*/ 179235 h 722809"/>
                    <a:gd name="connsiteX5" fmla="*/ 452456 w 1239495"/>
                    <a:gd name="connsiteY5" fmla="*/ 307786 h 722809"/>
                    <a:gd name="connsiteX6" fmla="*/ 310505 w 1239495"/>
                    <a:gd name="connsiteY6" fmla="*/ 468961 h 722809"/>
                    <a:gd name="connsiteX7" fmla="*/ 218849 w 1239495"/>
                    <a:gd name="connsiteY7" fmla="*/ 625671 h 722809"/>
                    <a:gd name="connsiteX8" fmla="*/ 166612 w 1239495"/>
                    <a:gd name="connsiteY8" fmla="*/ 677130 h 722809"/>
                    <a:gd name="connsiteX9" fmla="*/ 0 w 1239495"/>
                    <a:gd name="connsiteY9" fmla="*/ 692471 h 722809"/>
                    <a:gd name="connsiteX10" fmla="*/ 179429 w 1239495"/>
                    <a:gd name="connsiteY10" fmla="*/ 721599 h 722809"/>
                    <a:gd name="connsiteX11" fmla="*/ 788982 w 1239495"/>
                    <a:gd name="connsiteY11" fmla="*/ 407598 h 722809"/>
                    <a:gd name="connsiteX12" fmla="*/ 1166093 w 1239495"/>
                    <a:gd name="connsiteY12" fmla="*/ 99424 h 722809"/>
                    <a:gd name="connsiteX13" fmla="*/ 1199687 w 1239495"/>
                    <a:gd name="connsiteY13" fmla="*/ 66218 h 722809"/>
                    <a:gd name="connsiteX14" fmla="*/ 1239496 w 1239495"/>
                    <a:gd name="connsiteY14" fmla="*/ 0 h 722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39495" h="722809">
                      <a:moveTo>
                        <a:pt x="1239496" y="0"/>
                      </a:moveTo>
                      <a:cubicBezTo>
                        <a:pt x="1220077" y="32818"/>
                        <a:pt x="1182016" y="36895"/>
                        <a:pt x="1149587" y="36313"/>
                      </a:cubicBezTo>
                      <a:cubicBezTo>
                        <a:pt x="1112886" y="35730"/>
                        <a:pt x="1076379" y="37284"/>
                        <a:pt x="1039871" y="41168"/>
                      </a:cubicBezTo>
                      <a:cubicBezTo>
                        <a:pt x="965886" y="48935"/>
                        <a:pt x="892872" y="64858"/>
                        <a:pt x="822382" y="88549"/>
                      </a:cubicBezTo>
                      <a:cubicBezTo>
                        <a:pt x="753640" y="111658"/>
                        <a:pt x="687228" y="142145"/>
                        <a:pt x="624894" y="179235"/>
                      </a:cubicBezTo>
                      <a:cubicBezTo>
                        <a:pt x="563142" y="215936"/>
                        <a:pt x="505274" y="259045"/>
                        <a:pt x="452456" y="307786"/>
                      </a:cubicBezTo>
                      <a:cubicBezTo>
                        <a:pt x="399831" y="356333"/>
                        <a:pt x="352061" y="410511"/>
                        <a:pt x="310505" y="468961"/>
                      </a:cubicBezTo>
                      <a:cubicBezTo>
                        <a:pt x="275357" y="518285"/>
                        <a:pt x="244676" y="570910"/>
                        <a:pt x="218849" y="625671"/>
                      </a:cubicBezTo>
                      <a:cubicBezTo>
                        <a:pt x="210693" y="642759"/>
                        <a:pt x="186031" y="665867"/>
                        <a:pt x="166612" y="677130"/>
                      </a:cubicBezTo>
                      <a:cubicBezTo>
                        <a:pt x="84471" y="724900"/>
                        <a:pt x="41168" y="698879"/>
                        <a:pt x="0" y="692471"/>
                      </a:cubicBezTo>
                      <a:cubicBezTo>
                        <a:pt x="108745" y="731891"/>
                        <a:pt x="179429" y="721599"/>
                        <a:pt x="179429" y="721599"/>
                      </a:cubicBezTo>
                      <a:cubicBezTo>
                        <a:pt x="285649" y="714996"/>
                        <a:pt x="563531" y="561200"/>
                        <a:pt x="788982" y="407598"/>
                      </a:cubicBezTo>
                      <a:cubicBezTo>
                        <a:pt x="940642" y="304291"/>
                        <a:pt x="1065310" y="197488"/>
                        <a:pt x="1166093" y="99424"/>
                      </a:cubicBezTo>
                      <a:cubicBezTo>
                        <a:pt x="1179686" y="87384"/>
                        <a:pt x="1190560" y="76315"/>
                        <a:pt x="1199687" y="66218"/>
                      </a:cubicBezTo>
                      <a:cubicBezTo>
                        <a:pt x="1225708" y="37672"/>
                        <a:pt x="1239496" y="0"/>
                        <a:pt x="1239496" y="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5664"/>
                    </a:gs>
                    <a:gs pos="99350">
                      <a:srgbClr val="0097B2"/>
                    </a:gs>
                  </a:gsLst>
                  <a:lin ang="14501957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9" name="ZoneTexte 78">
              <a:extLst>
                <a:ext uri="{FF2B5EF4-FFF2-40B4-BE49-F238E27FC236}">
                  <a16:creationId xmlns:a16="http://schemas.microsoft.com/office/drawing/2014/main" id="{98EBFAAA-78FA-D1FD-2442-2EF4EB78946D}"/>
                </a:ext>
              </a:extLst>
            </p:cNvPr>
            <p:cNvSpPr txBox="1"/>
            <p:nvPr/>
          </p:nvSpPr>
          <p:spPr>
            <a:xfrm>
              <a:off x="7066256" y="2094632"/>
              <a:ext cx="163264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kern="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المرحلة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600" b="1" i="0" u="none" strike="noStrike" kern="1200" cap="none" spc="0" normalizeH="0" baseline="0" noProof="0" dirty="0">
                  <a:ln>
                    <a:noFill/>
                  </a:ln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ir Strip Arabic" panose="02000500000000000000" pitchFamily="2" charset="-78"/>
                  <a:ea typeface="+mn-ea"/>
                  <a:cs typeface="Air Strip Arabic" panose="02000500000000000000" pitchFamily="2" charset="-78"/>
                </a:rPr>
                <a:t> </a:t>
              </a:r>
              <a:endParaRPr kumimoji="0" lang="ar-MA" sz="16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30" name="ZoneTexte 1">
              <a:extLst>
                <a:ext uri="{FF2B5EF4-FFF2-40B4-BE49-F238E27FC236}">
                  <a16:creationId xmlns:a16="http://schemas.microsoft.com/office/drawing/2014/main" id="{0AFBC2AD-27C0-70B4-EE3F-FD6FB36FAB42}"/>
                </a:ext>
              </a:extLst>
            </p:cNvPr>
            <p:cNvSpPr txBox="1"/>
            <p:nvPr/>
          </p:nvSpPr>
          <p:spPr>
            <a:xfrm>
              <a:off x="7066003" y="2411583"/>
              <a:ext cx="163264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kern="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C15290-63CB-A1E3-D1C2-1DB4940A4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7A55452-CAFB-75FF-4E76-43A05C974FD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" name="Google Shape;312;p11" descr="jeu de numéros de dessin animé coloré. numéros d'enfants drôles isolés sur  fond blanc. ensemble vectoriel d'icônes de bébé de 1 à 9 chiffres. symboles  mathématiques de l'école. 9361793 Art vectoriel chez">
            <a:extLst>
              <a:ext uri="{FF2B5EF4-FFF2-40B4-BE49-F238E27FC236}">
                <a16:creationId xmlns:a16="http://schemas.microsoft.com/office/drawing/2014/main" id="{5B2C655F-6DB7-5097-44AF-312D4BB92DC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16000" y="2006600"/>
            <a:ext cx="6954093" cy="305368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A99835B6-A37F-6422-65B4-2DEF4CFB625E}"/>
              </a:ext>
            </a:extLst>
          </p:cNvPr>
          <p:cNvSpPr txBox="1"/>
          <p:nvPr/>
        </p:nvSpPr>
        <p:spPr>
          <a:xfrm>
            <a:off x="1016000" y="467104"/>
            <a:ext cx="7462091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سنقرأ جماعة الأرقام.</a:t>
            </a:r>
            <a:endParaRPr dirty="0"/>
          </a:p>
          <a:p>
            <a:pPr algn="r" rtl="1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عيد المدرس(ة) القراءة عدة مرات مع المتعلمين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42577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B28070-97B4-EB69-4C3B-0D63BD7A5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4C023605-AA2C-B822-6EB1-C36F2B9A9AB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FCCA8853-BF7D-82E3-B949-6D92483E118F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خذوا الألواح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A6F770A-DB07-7D2C-3BB2-41D838535B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2591780" y="2204864"/>
            <a:ext cx="3960440" cy="2816312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36398066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484B21-E606-1B41-C733-1BFEBA809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DD455D1E-88C4-FE55-6BCC-5CAE53332BF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08C516E1-1BDC-1003-8590-5891D20CAF0F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كتبوا عدد الأقراص بالأرقام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50507C-9706-D661-81BD-090DC458791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38113" y="645086"/>
            <a:ext cx="756084" cy="537660"/>
          </a:xfrm>
          <a:prstGeom prst="round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4545ED0-72E7-36E8-DD44-4F5F52654A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671" y="2644072"/>
            <a:ext cx="8504657" cy="1569856"/>
          </a:xfrm>
          <a:prstGeom prst="rect">
            <a:avLst/>
          </a:prstGeo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50E1BD69-D5AD-D7B7-0695-672EE720C157}"/>
              </a:ext>
            </a:extLst>
          </p:cNvPr>
          <p:cNvSpPr/>
          <p:nvPr/>
        </p:nvSpPr>
        <p:spPr>
          <a:xfrm>
            <a:off x="687148" y="2897232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92029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379A4EE-60B1-37CF-69F9-0D92FE52BB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BBAB107-411E-A50E-D523-F6322D79655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EA694812-12E0-66B2-488B-9FEB9E1BFD55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. واحد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53FB959-6B3D-30CB-1304-46D6BE8ED3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87" y="612505"/>
            <a:ext cx="1444751" cy="1035965"/>
          </a:xfrm>
          <a:prstGeom prst="rect">
            <a:avLst/>
          </a:prstGeom>
        </p:spPr>
      </p:pic>
      <p:sp>
        <p:nvSpPr>
          <p:cNvPr id="10" name="Google Shape;344;p15">
            <a:extLst>
              <a:ext uri="{FF2B5EF4-FFF2-40B4-BE49-F238E27FC236}">
                <a16:creationId xmlns:a16="http://schemas.microsoft.com/office/drawing/2014/main" id="{8E535FBD-4C0E-7BB1-FE1F-5DCC132E01FA}"/>
              </a:ext>
            </a:extLst>
          </p:cNvPr>
          <p:cNvSpPr txBox="1"/>
          <p:nvPr/>
        </p:nvSpPr>
        <p:spPr>
          <a:xfrm>
            <a:off x="2971800" y="473945"/>
            <a:ext cx="3200400" cy="450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ar-MA" sz="28700">
                <a:solidFill>
                  <a:srgbClr val="002060"/>
                </a:solidFill>
                <a:latin typeface="Calibri"/>
                <a:ea typeface="Calibri"/>
                <a:sym typeface="Calibri"/>
              </a:rPr>
              <a:t>1</a:t>
            </a:r>
            <a:endParaRPr>
              <a:solidFill>
                <a:srgbClr val="00206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2B27D4B-7C30-6409-10E4-47774B7A9065}"/>
              </a:ext>
            </a:extLst>
          </p:cNvPr>
          <p:cNvSpPr txBox="1"/>
          <p:nvPr/>
        </p:nvSpPr>
        <p:spPr>
          <a:xfrm>
            <a:off x="3431193" y="4982872"/>
            <a:ext cx="24734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600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واحِدٌ</a:t>
            </a:r>
            <a:endParaRPr lang="fr-FR" sz="600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3428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91749D1-2C20-EE5C-216B-05EFC97534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1CCBB8A1-1E06-5A81-4984-9984F5DCA59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FB851D00-A4D4-06DD-405E-49861CE2F0D2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كتبوا عدد الأقراص بالأرقام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46A374F-A715-AD3F-F42B-521E048DE80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8217" y="639248"/>
            <a:ext cx="756084" cy="537660"/>
          </a:xfrm>
          <a:prstGeom prst="round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5E7F998-A1AD-EEBC-A5A3-0CA01D04B3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671" y="2644072"/>
            <a:ext cx="8504657" cy="1569856"/>
          </a:xfrm>
          <a:prstGeom prst="rect">
            <a:avLst/>
          </a:prstGeo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7B33350C-8252-E40E-5E54-B16E33A05BC3}"/>
              </a:ext>
            </a:extLst>
          </p:cNvPr>
          <p:cNvSpPr/>
          <p:nvPr/>
        </p:nvSpPr>
        <p:spPr>
          <a:xfrm>
            <a:off x="687148" y="2897232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68F0CFB8-CA1D-8BC2-F27B-C52FA64E6F67}"/>
              </a:ext>
            </a:extLst>
          </p:cNvPr>
          <p:cNvSpPr/>
          <p:nvPr/>
        </p:nvSpPr>
        <p:spPr>
          <a:xfrm>
            <a:off x="2391621" y="2928524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43067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E8D1A1-0B89-8EAF-DDEB-C7D2B0F9BE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883858D-E9D7-98AC-A69C-901DC0AF86C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FBED3685-9A57-C2EE-FE2B-25C0C3BAAEFB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. اثنان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4D0F87CF-B587-B1F7-4A94-423B4EDE47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87" y="612505"/>
            <a:ext cx="1444751" cy="1035965"/>
          </a:xfrm>
          <a:prstGeom prst="rect">
            <a:avLst/>
          </a:prstGeom>
        </p:spPr>
      </p:pic>
      <p:sp>
        <p:nvSpPr>
          <p:cNvPr id="10" name="Google Shape;344;p15">
            <a:extLst>
              <a:ext uri="{FF2B5EF4-FFF2-40B4-BE49-F238E27FC236}">
                <a16:creationId xmlns:a16="http://schemas.microsoft.com/office/drawing/2014/main" id="{DF8E7E08-CD7B-30A9-B1A7-7450632CDB82}"/>
              </a:ext>
            </a:extLst>
          </p:cNvPr>
          <p:cNvSpPr txBox="1"/>
          <p:nvPr/>
        </p:nvSpPr>
        <p:spPr>
          <a:xfrm>
            <a:off x="2971800" y="473945"/>
            <a:ext cx="3200400" cy="450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ar-MA" sz="28700">
                <a:solidFill>
                  <a:srgbClr val="002060"/>
                </a:solidFill>
                <a:latin typeface="Calibri"/>
                <a:ea typeface="Calibri"/>
                <a:sym typeface="Calibri"/>
              </a:rPr>
              <a:t>2</a:t>
            </a:r>
            <a:endParaRPr>
              <a:solidFill>
                <a:srgbClr val="00206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4ECC2BD-7DFF-FE65-6353-CCE953205FC6}"/>
              </a:ext>
            </a:extLst>
          </p:cNvPr>
          <p:cNvSpPr txBox="1"/>
          <p:nvPr/>
        </p:nvSpPr>
        <p:spPr>
          <a:xfrm>
            <a:off x="3431193" y="4982872"/>
            <a:ext cx="24734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600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اِثْنانِ</a:t>
            </a:r>
            <a:endParaRPr lang="fr-FR" sz="600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63128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DD03C20-2411-3D7E-32B3-082D4A0FE4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72CD4953-DC99-4320-1DC2-227F6AF8F5E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BC17B100-61FC-07F1-1E48-B56927E486DD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كتبوا عدد الأقراص بالأرقام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C3F6C126-F317-A9B7-6E22-74A4AC21705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31019" y="629309"/>
            <a:ext cx="756084" cy="537660"/>
          </a:xfrm>
          <a:prstGeom prst="round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C9B81104-EB02-A46D-FD5D-DC900CC226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671" y="2644072"/>
            <a:ext cx="8504657" cy="1569856"/>
          </a:xfrm>
          <a:prstGeom prst="rect">
            <a:avLst/>
          </a:prstGeo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15DC1A88-5EC8-8E0D-6E37-3BB57A7D9582}"/>
              </a:ext>
            </a:extLst>
          </p:cNvPr>
          <p:cNvSpPr/>
          <p:nvPr/>
        </p:nvSpPr>
        <p:spPr>
          <a:xfrm>
            <a:off x="687148" y="2897232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E74CBCCE-34E4-94DE-74B1-83E31B82568F}"/>
              </a:ext>
            </a:extLst>
          </p:cNvPr>
          <p:cNvSpPr/>
          <p:nvPr/>
        </p:nvSpPr>
        <p:spPr>
          <a:xfrm>
            <a:off x="2391621" y="2928524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7F4FB02F-A34B-F319-2586-EAB727062B45}"/>
              </a:ext>
            </a:extLst>
          </p:cNvPr>
          <p:cNvSpPr/>
          <p:nvPr/>
        </p:nvSpPr>
        <p:spPr>
          <a:xfrm>
            <a:off x="4096094" y="2928524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90885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F2BEAA2-3734-F683-1281-331E0E83A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02CDD4F0-9B0E-AE00-B6F0-7C930C9468D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5AB0C7B1-669F-0F4C-3DAC-48F7F02954B0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. ثلاثة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AB75C3D-5DAF-2BD4-002D-8AF8362F84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87" y="612505"/>
            <a:ext cx="1444751" cy="1035965"/>
          </a:xfrm>
          <a:prstGeom prst="rect">
            <a:avLst/>
          </a:prstGeom>
        </p:spPr>
      </p:pic>
      <p:sp>
        <p:nvSpPr>
          <p:cNvPr id="10" name="Google Shape;344;p15">
            <a:extLst>
              <a:ext uri="{FF2B5EF4-FFF2-40B4-BE49-F238E27FC236}">
                <a16:creationId xmlns:a16="http://schemas.microsoft.com/office/drawing/2014/main" id="{CD88BB14-2EC9-7C00-FF63-1863EAE0E36B}"/>
              </a:ext>
            </a:extLst>
          </p:cNvPr>
          <p:cNvSpPr txBox="1"/>
          <p:nvPr/>
        </p:nvSpPr>
        <p:spPr>
          <a:xfrm>
            <a:off x="2971800" y="473945"/>
            <a:ext cx="3200400" cy="450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ar-MA" sz="28700">
                <a:solidFill>
                  <a:srgbClr val="002060"/>
                </a:solidFill>
                <a:latin typeface="Calibri"/>
                <a:ea typeface="Calibri"/>
                <a:sym typeface="Calibri"/>
              </a:rPr>
              <a:t>3</a:t>
            </a:r>
            <a:endParaRPr>
              <a:solidFill>
                <a:srgbClr val="00206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DC91327-9BC8-8802-8AC3-230ACF9F0704}"/>
              </a:ext>
            </a:extLst>
          </p:cNvPr>
          <p:cNvSpPr txBox="1"/>
          <p:nvPr/>
        </p:nvSpPr>
        <p:spPr>
          <a:xfrm>
            <a:off x="3431193" y="4982872"/>
            <a:ext cx="24734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600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ثَلاثَةٌ</a:t>
            </a:r>
            <a:endParaRPr lang="fr-FR" sz="600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18251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7B55A22-EF9A-2899-1C24-1D90AE3EB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170663E4-607A-3F46-B32B-7A4F6FA3ECF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9D1A12BC-B907-EA75-0A93-A0EB5693C9C4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كتبوا عدد الأقراص بالأرقام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9CF41F71-1EC1-82CB-A5C6-B6E64FBC7DB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21184" y="629309"/>
            <a:ext cx="756084" cy="537660"/>
          </a:xfrm>
          <a:prstGeom prst="round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3FAF015F-D202-6775-392B-003B0BE542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671" y="2644072"/>
            <a:ext cx="8504657" cy="1569856"/>
          </a:xfrm>
          <a:prstGeom prst="rect">
            <a:avLst/>
          </a:prstGeo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4FCC36F0-A93F-F24A-B646-417C9D6E728C}"/>
              </a:ext>
            </a:extLst>
          </p:cNvPr>
          <p:cNvSpPr/>
          <p:nvPr/>
        </p:nvSpPr>
        <p:spPr>
          <a:xfrm>
            <a:off x="687148" y="2897232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6CD1C45F-2746-30C8-3D46-CB879DE3A1B9}"/>
              </a:ext>
            </a:extLst>
          </p:cNvPr>
          <p:cNvSpPr/>
          <p:nvPr/>
        </p:nvSpPr>
        <p:spPr>
          <a:xfrm>
            <a:off x="2391621" y="2928524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C17AF043-B1C1-E65C-3BED-453A96BC20BC}"/>
              </a:ext>
            </a:extLst>
          </p:cNvPr>
          <p:cNvSpPr/>
          <p:nvPr/>
        </p:nvSpPr>
        <p:spPr>
          <a:xfrm>
            <a:off x="4096094" y="2928524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190E1420-DC9C-BC1A-6FC5-F1C8BFF5A4D1}"/>
              </a:ext>
            </a:extLst>
          </p:cNvPr>
          <p:cNvSpPr/>
          <p:nvPr/>
        </p:nvSpPr>
        <p:spPr>
          <a:xfrm>
            <a:off x="5751429" y="2928524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42681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0A7AAF4-E87F-22B5-1016-F4C5D1EE26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CADB9CC-FC10-28C7-E320-8DD46E2006F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815F860E-0BF7-6C43-7934-F2642FC6CAFC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. أربعة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D4210DB-0C79-173D-4E3A-715E89A865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87" y="612505"/>
            <a:ext cx="1444751" cy="1035965"/>
          </a:xfrm>
          <a:prstGeom prst="rect">
            <a:avLst/>
          </a:prstGeom>
        </p:spPr>
      </p:pic>
      <p:sp>
        <p:nvSpPr>
          <p:cNvPr id="10" name="Google Shape;344;p15">
            <a:extLst>
              <a:ext uri="{FF2B5EF4-FFF2-40B4-BE49-F238E27FC236}">
                <a16:creationId xmlns:a16="http://schemas.microsoft.com/office/drawing/2014/main" id="{C6B5E515-5DE2-C311-82C7-65FBA9B5B2D2}"/>
              </a:ext>
            </a:extLst>
          </p:cNvPr>
          <p:cNvSpPr txBox="1"/>
          <p:nvPr/>
        </p:nvSpPr>
        <p:spPr>
          <a:xfrm>
            <a:off x="2971800" y="473945"/>
            <a:ext cx="3200400" cy="450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ar-MA" sz="28700">
                <a:solidFill>
                  <a:srgbClr val="002060"/>
                </a:solidFill>
                <a:latin typeface="Calibri"/>
                <a:ea typeface="Calibri"/>
                <a:sym typeface="Calibri"/>
              </a:rPr>
              <a:t>4</a:t>
            </a:r>
            <a:endParaRPr>
              <a:solidFill>
                <a:srgbClr val="00206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737D7A6-C2B6-8AD4-6D37-04A5D69C363C}"/>
              </a:ext>
            </a:extLst>
          </p:cNvPr>
          <p:cNvSpPr txBox="1"/>
          <p:nvPr/>
        </p:nvSpPr>
        <p:spPr>
          <a:xfrm>
            <a:off x="3431193" y="4982872"/>
            <a:ext cx="24734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600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أَرْبَعَةٌ</a:t>
            </a:r>
            <a:endParaRPr lang="fr-FR" sz="600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140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 32">
            <a:extLst>
              <a:ext uri="{FF2B5EF4-FFF2-40B4-BE49-F238E27FC236}">
                <a16:creationId xmlns:a16="http://schemas.microsoft.com/office/drawing/2014/main" id="{E2CC31C0-7DE8-D83D-E821-170A23E43BB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8616CE26-0DA5-D986-849B-9EC635F5EE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16CE26-0DA5-D986-849B-9EC635F5E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e 10">
            <a:extLst>
              <a:ext uri="{FF2B5EF4-FFF2-40B4-BE49-F238E27FC236}">
                <a16:creationId xmlns:a16="http://schemas.microsoft.com/office/drawing/2014/main" id="{B04C4723-0832-395A-B2CF-FDEF6E3422E5}"/>
              </a:ext>
            </a:extLst>
          </p:cNvPr>
          <p:cNvGrpSpPr/>
          <p:nvPr/>
        </p:nvGrpSpPr>
        <p:grpSpPr>
          <a:xfrm>
            <a:off x="312517" y="227367"/>
            <a:ext cx="8518967" cy="5721914"/>
            <a:chOff x="312517" y="227366"/>
            <a:chExt cx="8518967" cy="6196583"/>
          </a:xfrm>
        </p:grpSpPr>
        <p:sp>
          <p:nvSpPr>
            <p:cNvPr id="12" name="Rectangle : coins arrondis 11">
              <a:extLst>
                <a:ext uri="{FF2B5EF4-FFF2-40B4-BE49-F238E27FC236}">
                  <a16:creationId xmlns:a16="http://schemas.microsoft.com/office/drawing/2014/main" id="{521521AE-4D95-B8E0-D95B-D5F26EA1422F}"/>
                </a:ext>
              </a:extLst>
            </p:cNvPr>
            <p:cNvSpPr/>
            <p:nvPr/>
          </p:nvSpPr>
          <p:spPr>
            <a:xfrm>
              <a:off x="312517" y="636608"/>
              <a:ext cx="8518967" cy="5787341"/>
            </a:xfrm>
            <a:prstGeom prst="roundRect">
              <a:avLst>
                <a:gd name="adj" fmla="val 2439"/>
              </a:avLst>
            </a:prstGeom>
            <a:solidFill>
              <a:srgbClr val="F4FAFA"/>
            </a:solidFill>
            <a:ln w="28575">
              <a:solidFill>
                <a:srgbClr val="00566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2E4E2BB-4F98-9EE0-C5E8-353633F4FD72}"/>
                </a:ext>
              </a:extLst>
            </p:cNvPr>
            <p:cNvSpPr/>
            <p:nvPr/>
          </p:nvSpPr>
          <p:spPr>
            <a:xfrm>
              <a:off x="625110" y="227366"/>
              <a:ext cx="622415" cy="562981"/>
            </a:xfrm>
            <a:custGeom>
              <a:avLst/>
              <a:gdLst/>
              <a:ahLst/>
              <a:cxnLst/>
              <a:rect l="l" t="t" r="r" b="b"/>
              <a:pathLst>
                <a:path w="1239167" h="1189600">
                  <a:moveTo>
                    <a:pt x="0" y="0"/>
                  </a:moveTo>
                  <a:lnTo>
                    <a:pt x="1239167" y="0"/>
                  </a:lnTo>
                  <a:lnTo>
                    <a:pt x="1239167" y="1189600"/>
                  </a:lnTo>
                  <a:lnTo>
                    <a:pt x="0" y="11896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fr-MA" sz="428" dirty="0">
                <a:latin typeface="Dosis" pitchFamily="2" charset="0"/>
              </a:endParaRP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7D9FAAEA-8042-FC08-9E0D-CFD54ACD4918}"/>
                </a:ext>
              </a:extLst>
            </p:cNvPr>
            <p:cNvSpPr/>
            <p:nvPr/>
          </p:nvSpPr>
          <p:spPr>
            <a:xfrm flipH="1" flipV="1">
              <a:off x="2253541" y="368699"/>
              <a:ext cx="4636919" cy="532201"/>
            </a:xfrm>
            <a:prstGeom prst="roundRect">
              <a:avLst>
                <a:gd name="adj" fmla="val 50000"/>
              </a:avLst>
            </a:prstGeom>
            <a:solidFill>
              <a:srgbClr val="005664"/>
            </a:solidFill>
            <a:ln w="13658" cap="flat">
              <a:solidFill>
                <a:srgbClr val="005664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ir Strip Arabic" panose="02000500000000000000" pitchFamily="2" charset="-78"/>
                <a:cs typeface="Air Strip Arabic" panose="02000500000000000000" pitchFamily="2" charset="-78"/>
              </a:endParaRPr>
            </a:p>
          </p:txBody>
        </p:sp>
      </p:grpSp>
      <p:sp>
        <p:nvSpPr>
          <p:cNvPr id="17" name="Ellipse 16">
            <a:extLst>
              <a:ext uri="{FF2B5EF4-FFF2-40B4-BE49-F238E27FC236}">
                <a16:creationId xmlns:a16="http://schemas.microsoft.com/office/drawing/2014/main" id="{84A1EA02-FEA0-ECF6-2E10-88DD56FBF757}"/>
              </a:ext>
            </a:extLst>
          </p:cNvPr>
          <p:cNvSpPr/>
          <p:nvPr/>
        </p:nvSpPr>
        <p:spPr>
          <a:xfrm>
            <a:off x="7174889" y="1614406"/>
            <a:ext cx="1151822" cy="115182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A9791B8E-F478-BFE1-671F-D2529FD0BDF1}"/>
              </a:ext>
            </a:extLst>
          </p:cNvPr>
          <p:cNvSpPr/>
          <p:nvPr/>
        </p:nvSpPr>
        <p:spPr>
          <a:xfrm>
            <a:off x="7174889" y="3067961"/>
            <a:ext cx="1151822" cy="115182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E55CBFA-6ECE-120A-6C16-388B8DE3D3CF}"/>
              </a:ext>
            </a:extLst>
          </p:cNvPr>
          <p:cNvSpPr/>
          <p:nvPr/>
        </p:nvSpPr>
        <p:spPr>
          <a:xfrm>
            <a:off x="7174889" y="4521515"/>
            <a:ext cx="1151822" cy="115182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C6AE5DDE-D6F9-39C7-C0C3-0B8A07CE2E0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257431" y="3213466"/>
            <a:ext cx="856766" cy="817895"/>
          </a:xfrm>
          <a:prstGeom prst="rect">
            <a:avLst/>
          </a:prstGeom>
        </p:spPr>
      </p:pic>
      <p:sp>
        <p:nvSpPr>
          <p:cNvPr id="21" name="Freeform 7">
            <a:extLst>
              <a:ext uri="{FF2B5EF4-FFF2-40B4-BE49-F238E27FC236}">
                <a16:creationId xmlns:a16="http://schemas.microsoft.com/office/drawing/2014/main" id="{539BDA4D-467F-4C0A-A10C-1D013A5D9799}"/>
              </a:ext>
            </a:extLst>
          </p:cNvPr>
          <p:cNvSpPr/>
          <p:nvPr/>
        </p:nvSpPr>
        <p:spPr>
          <a:xfrm>
            <a:off x="7464538" y="1898419"/>
            <a:ext cx="622415" cy="562981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fr-MA" sz="428" dirty="0">
              <a:latin typeface="Dosis" pitchFamily="2" charset="0"/>
            </a:endParaRPr>
          </a:p>
        </p:txBody>
      </p:sp>
      <p:sp>
        <p:nvSpPr>
          <p:cNvPr id="22" name="Forme libre : forme 21">
            <a:extLst>
              <a:ext uri="{FF2B5EF4-FFF2-40B4-BE49-F238E27FC236}">
                <a16:creationId xmlns:a16="http://schemas.microsoft.com/office/drawing/2014/main" id="{7A5D440B-7684-07A7-F9D5-CFE97465E01E}"/>
              </a:ext>
            </a:extLst>
          </p:cNvPr>
          <p:cNvSpPr/>
          <p:nvPr/>
        </p:nvSpPr>
        <p:spPr>
          <a:xfrm>
            <a:off x="6389870" y="2118952"/>
            <a:ext cx="545261" cy="142730"/>
          </a:xfrm>
          <a:custGeom>
            <a:avLst/>
            <a:gdLst>
              <a:gd name="connsiteX0" fmla="*/ 200331 w 1140257"/>
              <a:gd name="connsiteY0" fmla="*/ 182213 h 298478"/>
              <a:gd name="connsiteX1" fmla="*/ 291200 w 1140257"/>
              <a:gd name="connsiteY1" fmla="*/ 234982 h 298478"/>
              <a:gd name="connsiteX2" fmla="*/ 318346 w 1140257"/>
              <a:gd name="connsiteY2" fmla="*/ 252031 h 298478"/>
              <a:gd name="connsiteX3" fmla="*/ 337967 w 1140257"/>
              <a:gd name="connsiteY3" fmla="*/ 287941 h 298478"/>
              <a:gd name="connsiteX4" fmla="*/ 296534 w 1140257"/>
              <a:gd name="connsiteY4" fmla="*/ 293179 h 298478"/>
              <a:gd name="connsiteX5" fmla="*/ 254338 w 1140257"/>
              <a:gd name="connsiteY5" fmla="*/ 275558 h 298478"/>
              <a:gd name="connsiteX6" fmla="*/ 69172 w 1140257"/>
              <a:gd name="connsiteY6" fmla="*/ 184975 h 298478"/>
              <a:gd name="connsiteX7" fmla="*/ 21737 w 1140257"/>
              <a:gd name="connsiteY7" fmla="*/ 157543 h 298478"/>
              <a:gd name="connsiteX8" fmla="*/ 26595 w 1140257"/>
              <a:gd name="connsiteY8" fmla="*/ 94488 h 298478"/>
              <a:gd name="connsiteX9" fmla="*/ 163088 w 1140257"/>
              <a:gd name="connsiteY9" fmla="*/ 29337 h 298478"/>
              <a:gd name="connsiteX10" fmla="*/ 221858 w 1140257"/>
              <a:gd name="connsiteY10" fmla="*/ 3810 h 298478"/>
              <a:gd name="connsiteX11" fmla="*/ 259196 w 1140257"/>
              <a:gd name="connsiteY11" fmla="*/ 0 h 298478"/>
              <a:gd name="connsiteX12" fmla="*/ 234145 w 1140257"/>
              <a:gd name="connsiteY12" fmla="*/ 39243 h 298478"/>
              <a:gd name="connsiteX13" fmla="*/ 132799 w 1140257"/>
              <a:gd name="connsiteY13" fmla="*/ 92773 h 298478"/>
              <a:gd name="connsiteX14" fmla="*/ 97651 w 1140257"/>
              <a:gd name="connsiteY14" fmla="*/ 120872 h 298478"/>
              <a:gd name="connsiteX15" fmla="*/ 147943 w 1140257"/>
              <a:gd name="connsiteY15" fmla="*/ 126397 h 298478"/>
              <a:gd name="connsiteX16" fmla="*/ 532658 w 1140257"/>
              <a:gd name="connsiteY16" fmla="*/ 146685 h 298478"/>
              <a:gd name="connsiteX17" fmla="*/ 1091395 w 1140257"/>
              <a:gd name="connsiteY17" fmla="*/ 175831 h 298478"/>
              <a:gd name="connsiteX18" fmla="*/ 1140258 w 1140257"/>
              <a:gd name="connsiteY18" fmla="*/ 187547 h 298478"/>
              <a:gd name="connsiteX19" fmla="*/ 1086632 w 1140257"/>
              <a:gd name="connsiteY19" fmla="*/ 206978 h 298478"/>
              <a:gd name="connsiteX20" fmla="*/ 811550 w 1140257"/>
              <a:gd name="connsiteY20" fmla="*/ 198120 h 298478"/>
              <a:gd name="connsiteX21" fmla="*/ 220238 w 1140257"/>
              <a:gd name="connsiteY21" fmla="*/ 178213 h 298478"/>
              <a:gd name="connsiteX22" fmla="*/ 200331 w 1140257"/>
              <a:gd name="connsiteY22" fmla="*/ 182213 h 29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40257" h="298478">
                <a:moveTo>
                  <a:pt x="200331" y="182213"/>
                </a:moveTo>
                <a:cubicBezTo>
                  <a:pt x="236431" y="203168"/>
                  <a:pt x="263863" y="218980"/>
                  <a:pt x="291200" y="234982"/>
                </a:cubicBezTo>
                <a:cubicBezTo>
                  <a:pt x="300439" y="240411"/>
                  <a:pt x="309868" y="245650"/>
                  <a:pt x="318346" y="252031"/>
                </a:cubicBezTo>
                <a:cubicBezTo>
                  <a:pt x="330252" y="260985"/>
                  <a:pt x="347778" y="269938"/>
                  <a:pt x="337967" y="287941"/>
                </a:cubicBezTo>
                <a:cubicBezTo>
                  <a:pt x="328728" y="304895"/>
                  <a:pt x="310630" y="297275"/>
                  <a:pt x="296534" y="293179"/>
                </a:cubicBezTo>
                <a:cubicBezTo>
                  <a:pt x="281960" y="288988"/>
                  <a:pt x="268054" y="282226"/>
                  <a:pt x="254338" y="275558"/>
                </a:cubicBezTo>
                <a:cubicBezTo>
                  <a:pt x="192521" y="245650"/>
                  <a:pt x="130703" y="215551"/>
                  <a:pt x="69172" y="184975"/>
                </a:cubicBezTo>
                <a:cubicBezTo>
                  <a:pt x="52789" y="176879"/>
                  <a:pt x="36120" y="168592"/>
                  <a:pt x="21737" y="157543"/>
                </a:cubicBezTo>
                <a:cubicBezTo>
                  <a:pt x="-8648" y="134207"/>
                  <a:pt x="-7314" y="112014"/>
                  <a:pt x="26595" y="94488"/>
                </a:cubicBezTo>
                <a:cubicBezTo>
                  <a:pt x="71363" y="71342"/>
                  <a:pt x="117463" y="50768"/>
                  <a:pt x="163088" y="29337"/>
                </a:cubicBezTo>
                <a:cubicBezTo>
                  <a:pt x="182424" y="20288"/>
                  <a:pt x="201760" y="10668"/>
                  <a:pt x="221858" y="3810"/>
                </a:cubicBezTo>
                <a:cubicBezTo>
                  <a:pt x="233288" y="-95"/>
                  <a:pt x="246337" y="1143"/>
                  <a:pt x="259196" y="0"/>
                </a:cubicBezTo>
                <a:cubicBezTo>
                  <a:pt x="262625" y="26670"/>
                  <a:pt x="247480" y="32290"/>
                  <a:pt x="234145" y="39243"/>
                </a:cubicBezTo>
                <a:cubicBezTo>
                  <a:pt x="200331" y="57055"/>
                  <a:pt x="166517" y="74771"/>
                  <a:pt x="132799" y="92773"/>
                </a:cubicBezTo>
                <a:cubicBezTo>
                  <a:pt x="120892" y="99155"/>
                  <a:pt x="109367" y="106108"/>
                  <a:pt x="97651" y="120872"/>
                </a:cubicBezTo>
                <a:cubicBezTo>
                  <a:pt x="114416" y="122777"/>
                  <a:pt x="131084" y="125539"/>
                  <a:pt x="147943" y="126397"/>
                </a:cubicBezTo>
                <a:cubicBezTo>
                  <a:pt x="276150" y="133350"/>
                  <a:pt x="404452" y="140113"/>
                  <a:pt x="532658" y="146685"/>
                </a:cubicBezTo>
                <a:cubicBezTo>
                  <a:pt x="718872" y="156305"/>
                  <a:pt x="905181" y="165640"/>
                  <a:pt x="1091395" y="175831"/>
                </a:cubicBezTo>
                <a:cubicBezTo>
                  <a:pt x="1106540" y="176689"/>
                  <a:pt x="1121399" y="182880"/>
                  <a:pt x="1140258" y="187547"/>
                </a:cubicBezTo>
                <a:cubicBezTo>
                  <a:pt x="1123208" y="213169"/>
                  <a:pt x="1103396" y="207454"/>
                  <a:pt x="1086632" y="206978"/>
                </a:cubicBezTo>
                <a:cubicBezTo>
                  <a:pt x="994906" y="204597"/>
                  <a:pt x="903276" y="201168"/>
                  <a:pt x="811550" y="198120"/>
                </a:cubicBezTo>
                <a:cubicBezTo>
                  <a:pt x="614478" y="191452"/>
                  <a:pt x="417310" y="184785"/>
                  <a:pt x="220238" y="178213"/>
                </a:cubicBezTo>
                <a:cubicBezTo>
                  <a:pt x="217381" y="178308"/>
                  <a:pt x="214428" y="179451"/>
                  <a:pt x="200331" y="182213"/>
                </a:cubicBezTo>
                <a:close/>
              </a:path>
            </a:pathLst>
          </a:custGeom>
          <a:solidFill>
            <a:srgbClr val="1E3F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4" name="Forme libre : forme 23">
            <a:extLst>
              <a:ext uri="{FF2B5EF4-FFF2-40B4-BE49-F238E27FC236}">
                <a16:creationId xmlns:a16="http://schemas.microsoft.com/office/drawing/2014/main" id="{00D0D59D-7954-D6D4-97EF-85D7D958BCE0}"/>
              </a:ext>
            </a:extLst>
          </p:cNvPr>
          <p:cNvSpPr/>
          <p:nvPr/>
        </p:nvSpPr>
        <p:spPr>
          <a:xfrm>
            <a:off x="6389870" y="3572507"/>
            <a:ext cx="545261" cy="142730"/>
          </a:xfrm>
          <a:custGeom>
            <a:avLst/>
            <a:gdLst>
              <a:gd name="connsiteX0" fmla="*/ 200331 w 1140257"/>
              <a:gd name="connsiteY0" fmla="*/ 182213 h 298478"/>
              <a:gd name="connsiteX1" fmla="*/ 291200 w 1140257"/>
              <a:gd name="connsiteY1" fmla="*/ 234982 h 298478"/>
              <a:gd name="connsiteX2" fmla="*/ 318346 w 1140257"/>
              <a:gd name="connsiteY2" fmla="*/ 252031 h 298478"/>
              <a:gd name="connsiteX3" fmla="*/ 337967 w 1140257"/>
              <a:gd name="connsiteY3" fmla="*/ 287941 h 298478"/>
              <a:gd name="connsiteX4" fmla="*/ 296534 w 1140257"/>
              <a:gd name="connsiteY4" fmla="*/ 293179 h 298478"/>
              <a:gd name="connsiteX5" fmla="*/ 254338 w 1140257"/>
              <a:gd name="connsiteY5" fmla="*/ 275558 h 298478"/>
              <a:gd name="connsiteX6" fmla="*/ 69172 w 1140257"/>
              <a:gd name="connsiteY6" fmla="*/ 184975 h 298478"/>
              <a:gd name="connsiteX7" fmla="*/ 21737 w 1140257"/>
              <a:gd name="connsiteY7" fmla="*/ 157543 h 298478"/>
              <a:gd name="connsiteX8" fmla="*/ 26595 w 1140257"/>
              <a:gd name="connsiteY8" fmla="*/ 94488 h 298478"/>
              <a:gd name="connsiteX9" fmla="*/ 163088 w 1140257"/>
              <a:gd name="connsiteY9" fmla="*/ 29337 h 298478"/>
              <a:gd name="connsiteX10" fmla="*/ 221858 w 1140257"/>
              <a:gd name="connsiteY10" fmla="*/ 3810 h 298478"/>
              <a:gd name="connsiteX11" fmla="*/ 259196 w 1140257"/>
              <a:gd name="connsiteY11" fmla="*/ 0 h 298478"/>
              <a:gd name="connsiteX12" fmla="*/ 234145 w 1140257"/>
              <a:gd name="connsiteY12" fmla="*/ 39243 h 298478"/>
              <a:gd name="connsiteX13" fmla="*/ 132799 w 1140257"/>
              <a:gd name="connsiteY13" fmla="*/ 92773 h 298478"/>
              <a:gd name="connsiteX14" fmla="*/ 97651 w 1140257"/>
              <a:gd name="connsiteY14" fmla="*/ 120872 h 298478"/>
              <a:gd name="connsiteX15" fmla="*/ 147943 w 1140257"/>
              <a:gd name="connsiteY15" fmla="*/ 126397 h 298478"/>
              <a:gd name="connsiteX16" fmla="*/ 532658 w 1140257"/>
              <a:gd name="connsiteY16" fmla="*/ 146685 h 298478"/>
              <a:gd name="connsiteX17" fmla="*/ 1091395 w 1140257"/>
              <a:gd name="connsiteY17" fmla="*/ 175831 h 298478"/>
              <a:gd name="connsiteX18" fmla="*/ 1140258 w 1140257"/>
              <a:gd name="connsiteY18" fmla="*/ 187547 h 298478"/>
              <a:gd name="connsiteX19" fmla="*/ 1086632 w 1140257"/>
              <a:gd name="connsiteY19" fmla="*/ 206978 h 298478"/>
              <a:gd name="connsiteX20" fmla="*/ 811550 w 1140257"/>
              <a:gd name="connsiteY20" fmla="*/ 198120 h 298478"/>
              <a:gd name="connsiteX21" fmla="*/ 220238 w 1140257"/>
              <a:gd name="connsiteY21" fmla="*/ 178213 h 298478"/>
              <a:gd name="connsiteX22" fmla="*/ 200331 w 1140257"/>
              <a:gd name="connsiteY22" fmla="*/ 182213 h 29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40257" h="298478">
                <a:moveTo>
                  <a:pt x="200331" y="182213"/>
                </a:moveTo>
                <a:cubicBezTo>
                  <a:pt x="236431" y="203168"/>
                  <a:pt x="263863" y="218980"/>
                  <a:pt x="291200" y="234982"/>
                </a:cubicBezTo>
                <a:cubicBezTo>
                  <a:pt x="300439" y="240411"/>
                  <a:pt x="309868" y="245650"/>
                  <a:pt x="318346" y="252031"/>
                </a:cubicBezTo>
                <a:cubicBezTo>
                  <a:pt x="330252" y="260985"/>
                  <a:pt x="347778" y="269938"/>
                  <a:pt x="337967" y="287941"/>
                </a:cubicBezTo>
                <a:cubicBezTo>
                  <a:pt x="328728" y="304895"/>
                  <a:pt x="310630" y="297275"/>
                  <a:pt x="296534" y="293179"/>
                </a:cubicBezTo>
                <a:cubicBezTo>
                  <a:pt x="281960" y="288988"/>
                  <a:pt x="268054" y="282226"/>
                  <a:pt x="254338" y="275558"/>
                </a:cubicBezTo>
                <a:cubicBezTo>
                  <a:pt x="192521" y="245650"/>
                  <a:pt x="130703" y="215551"/>
                  <a:pt x="69172" y="184975"/>
                </a:cubicBezTo>
                <a:cubicBezTo>
                  <a:pt x="52789" y="176879"/>
                  <a:pt x="36120" y="168592"/>
                  <a:pt x="21737" y="157543"/>
                </a:cubicBezTo>
                <a:cubicBezTo>
                  <a:pt x="-8648" y="134207"/>
                  <a:pt x="-7314" y="112014"/>
                  <a:pt x="26595" y="94488"/>
                </a:cubicBezTo>
                <a:cubicBezTo>
                  <a:pt x="71363" y="71342"/>
                  <a:pt x="117463" y="50768"/>
                  <a:pt x="163088" y="29337"/>
                </a:cubicBezTo>
                <a:cubicBezTo>
                  <a:pt x="182424" y="20288"/>
                  <a:pt x="201760" y="10668"/>
                  <a:pt x="221858" y="3810"/>
                </a:cubicBezTo>
                <a:cubicBezTo>
                  <a:pt x="233288" y="-95"/>
                  <a:pt x="246337" y="1143"/>
                  <a:pt x="259196" y="0"/>
                </a:cubicBezTo>
                <a:cubicBezTo>
                  <a:pt x="262625" y="26670"/>
                  <a:pt x="247480" y="32290"/>
                  <a:pt x="234145" y="39243"/>
                </a:cubicBezTo>
                <a:cubicBezTo>
                  <a:pt x="200331" y="57055"/>
                  <a:pt x="166517" y="74771"/>
                  <a:pt x="132799" y="92773"/>
                </a:cubicBezTo>
                <a:cubicBezTo>
                  <a:pt x="120892" y="99155"/>
                  <a:pt x="109367" y="106108"/>
                  <a:pt x="97651" y="120872"/>
                </a:cubicBezTo>
                <a:cubicBezTo>
                  <a:pt x="114416" y="122777"/>
                  <a:pt x="131084" y="125539"/>
                  <a:pt x="147943" y="126397"/>
                </a:cubicBezTo>
                <a:cubicBezTo>
                  <a:pt x="276150" y="133350"/>
                  <a:pt x="404452" y="140113"/>
                  <a:pt x="532658" y="146685"/>
                </a:cubicBezTo>
                <a:cubicBezTo>
                  <a:pt x="718872" y="156305"/>
                  <a:pt x="905181" y="165640"/>
                  <a:pt x="1091395" y="175831"/>
                </a:cubicBezTo>
                <a:cubicBezTo>
                  <a:pt x="1106540" y="176689"/>
                  <a:pt x="1121399" y="182880"/>
                  <a:pt x="1140258" y="187547"/>
                </a:cubicBezTo>
                <a:cubicBezTo>
                  <a:pt x="1123208" y="213169"/>
                  <a:pt x="1103396" y="207454"/>
                  <a:pt x="1086632" y="206978"/>
                </a:cubicBezTo>
                <a:cubicBezTo>
                  <a:pt x="994906" y="204597"/>
                  <a:pt x="903276" y="201168"/>
                  <a:pt x="811550" y="198120"/>
                </a:cubicBezTo>
                <a:cubicBezTo>
                  <a:pt x="614478" y="191452"/>
                  <a:pt x="417310" y="184785"/>
                  <a:pt x="220238" y="178213"/>
                </a:cubicBezTo>
                <a:cubicBezTo>
                  <a:pt x="217381" y="178308"/>
                  <a:pt x="214428" y="179451"/>
                  <a:pt x="200331" y="182213"/>
                </a:cubicBezTo>
                <a:close/>
              </a:path>
            </a:pathLst>
          </a:custGeom>
          <a:solidFill>
            <a:srgbClr val="1E3F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03B2BC96-11A0-F6EC-BFA4-C1AD08BCFBB5}"/>
              </a:ext>
            </a:extLst>
          </p:cNvPr>
          <p:cNvSpPr/>
          <p:nvPr/>
        </p:nvSpPr>
        <p:spPr>
          <a:xfrm>
            <a:off x="6389870" y="5026061"/>
            <a:ext cx="545261" cy="142730"/>
          </a:xfrm>
          <a:custGeom>
            <a:avLst/>
            <a:gdLst>
              <a:gd name="connsiteX0" fmla="*/ 200331 w 1140257"/>
              <a:gd name="connsiteY0" fmla="*/ 182213 h 298478"/>
              <a:gd name="connsiteX1" fmla="*/ 291200 w 1140257"/>
              <a:gd name="connsiteY1" fmla="*/ 234982 h 298478"/>
              <a:gd name="connsiteX2" fmla="*/ 318346 w 1140257"/>
              <a:gd name="connsiteY2" fmla="*/ 252031 h 298478"/>
              <a:gd name="connsiteX3" fmla="*/ 337967 w 1140257"/>
              <a:gd name="connsiteY3" fmla="*/ 287941 h 298478"/>
              <a:gd name="connsiteX4" fmla="*/ 296534 w 1140257"/>
              <a:gd name="connsiteY4" fmla="*/ 293179 h 298478"/>
              <a:gd name="connsiteX5" fmla="*/ 254338 w 1140257"/>
              <a:gd name="connsiteY5" fmla="*/ 275558 h 298478"/>
              <a:gd name="connsiteX6" fmla="*/ 69172 w 1140257"/>
              <a:gd name="connsiteY6" fmla="*/ 184975 h 298478"/>
              <a:gd name="connsiteX7" fmla="*/ 21737 w 1140257"/>
              <a:gd name="connsiteY7" fmla="*/ 157543 h 298478"/>
              <a:gd name="connsiteX8" fmla="*/ 26595 w 1140257"/>
              <a:gd name="connsiteY8" fmla="*/ 94488 h 298478"/>
              <a:gd name="connsiteX9" fmla="*/ 163088 w 1140257"/>
              <a:gd name="connsiteY9" fmla="*/ 29337 h 298478"/>
              <a:gd name="connsiteX10" fmla="*/ 221858 w 1140257"/>
              <a:gd name="connsiteY10" fmla="*/ 3810 h 298478"/>
              <a:gd name="connsiteX11" fmla="*/ 259196 w 1140257"/>
              <a:gd name="connsiteY11" fmla="*/ 0 h 298478"/>
              <a:gd name="connsiteX12" fmla="*/ 234145 w 1140257"/>
              <a:gd name="connsiteY12" fmla="*/ 39243 h 298478"/>
              <a:gd name="connsiteX13" fmla="*/ 132799 w 1140257"/>
              <a:gd name="connsiteY13" fmla="*/ 92773 h 298478"/>
              <a:gd name="connsiteX14" fmla="*/ 97651 w 1140257"/>
              <a:gd name="connsiteY14" fmla="*/ 120872 h 298478"/>
              <a:gd name="connsiteX15" fmla="*/ 147943 w 1140257"/>
              <a:gd name="connsiteY15" fmla="*/ 126397 h 298478"/>
              <a:gd name="connsiteX16" fmla="*/ 532658 w 1140257"/>
              <a:gd name="connsiteY16" fmla="*/ 146685 h 298478"/>
              <a:gd name="connsiteX17" fmla="*/ 1091395 w 1140257"/>
              <a:gd name="connsiteY17" fmla="*/ 175831 h 298478"/>
              <a:gd name="connsiteX18" fmla="*/ 1140258 w 1140257"/>
              <a:gd name="connsiteY18" fmla="*/ 187547 h 298478"/>
              <a:gd name="connsiteX19" fmla="*/ 1086632 w 1140257"/>
              <a:gd name="connsiteY19" fmla="*/ 206978 h 298478"/>
              <a:gd name="connsiteX20" fmla="*/ 811550 w 1140257"/>
              <a:gd name="connsiteY20" fmla="*/ 198120 h 298478"/>
              <a:gd name="connsiteX21" fmla="*/ 220238 w 1140257"/>
              <a:gd name="connsiteY21" fmla="*/ 178213 h 298478"/>
              <a:gd name="connsiteX22" fmla="*/ 200331 w 1140257"/>
              <a:gd name="connsiteY22" fmla="*/ 182213 h 29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40257" h="298478">
                <a:moveTo>
                  <a:pt x="200331" y="182213"/>
                </a:moveTo>
                <a:cubicBezTo>
                  <a:pt x="236431" y="203168"/>
                  <a:pt x="263863" y="218980"/>
                  <a:pt x="291200" y="234982"/>
                </a:cubicBezTo>
                <a:cubicBezTo>
                  <a:pt x="300439" y="240411"/>
                  <a:pt x="309868" y="245650"/>
                  <a:pt x="318346" y="252031"/>
                </a:cubicBezTo>
                <a:cubicBezTo>
                  <a:pt x="330252" y="260985"/>
                  <a:pt x="347778" y="269938"/>
                  <a:pt x="337967" y="287941"/>
                </a:cubicBezTo>
                <a:cubicBezTo>
                  <a:pt x="328728" y="304895"/>
                  <a:pt x="310630" y="297275"/>
                  <a:pt x="296534" y="293179"/>
                </a:cubicBezTo>
                <a:cubicBezTo>
                  <a:pt x="281960" y="288988"/>
                  <a:pt x="268054" y="282226"/>
                  <a:pt x="254338" y="275558"/>
                </a:cubicBezTo>
                <a:cubicBezTo>
                  <a:pt x="192521" y="245650"/>
                  <a:pt x="130703" y="215551"/>
                  <a:pt x="69172" y="184975"/>
                </a:cubicBezTo>
                <a:cubicBezTo>
                  <a:pt x="52789" y="176879"/>
                  <a:pt x="36120" y="168592"/>
                  <a:pt x="21737" y="157543"/>
                </a:cubicBezTo>
                <a:cubicBezTo>
                  <a:pt x="-8648" y="134207"/>
                  <a:pt x="-7314" y="112014"/>
                  <a:pt x="26595" y="94488"/>
                </a:cubicBezTo>
                <a:cubicBezTo>
                  <a:pt x="71363" y="71342"/>
                  <a:pt x="117463" y="50768"/>
                  <a:pt x="163088" y="29337"/>
                </a:cubicBezTo>
                <a:cubicBezTo>
                  <a:pt x="182424" y="20288"/>
                  <a:pt x="201760" y="10668"/>
                  <a:pt x="221858" y="3810"/>
                </a:cubicBezTo>
                <a:cubicBezTo>
                  <a:pt x="233288" y="-95"/>
                  <a:pt x="246337" y="1143"/>
                  <a:pt x="259196" y="0"/>
                </a:cubicBezTo>
                <a:cubicBezTo>
                  <a:pt x="262625" y="26670"/>
                  <a:pt x="247480" y="32290"/>
                  <a:pt x="234145" y="39243"/>
                </a:cubicBezTo>
                <a:cubicBezTo>
                  <a:pt x="200331" y="57055"/>
                  <a:pt x="166517" y="74771"/>
                  <a:pt x="132799" y="92773"/>
                </a:cubicBezTo>
                <a:cubicBezTo>
                  <a:pt x="120892" y="99155"/>
                  <a:pt x="109367" y="106108"/>
                  <a:pt x="97651" y="120872"/>
                </a:cubicBezTo>
                <a:cubicBezTo>
                  <a:pt x="114416" y="122777"/>
                  <a:pt x="131084" y="125539"/>
                  <a:pt x="147943" y="126397"/>
                </a:cubicBezTo>
                <a:cubicBezTo>
                  <a:pt x="276150" y="133350"/>
                  <a:pt x="404452" y="140113"/>
                  <a:pt x="532658" y="146685"/>
                </a:cubicBezTo>
                <a:cubicBezTo>
                  <a:pt x="718872" y="156305"/>
                  <a:pt x="905181" y="165640"/>
                  <a:pt x="1091395" y="175831"/>
                </a:cubicBezTo>
                <a:cubicBezTo>
                  <a:pt x="1106540" y="176689"/>
                  <a:pt x="1121399" y="182880"/>
                  <a:pt x="1140258" y="187547"/>
                </a:cubicBezTo>
                <a:cubicBezTo>
                  <a:pt x="1123208" y="213169"/>
                  <a:pt x="1103396" y="207454"/>
                  <a:pt x="1086632" y="206978"/>
                </a:cubicBezTo>
                <a:cubicBezTo>
                  <a:pt x="994906" y="204597"/>
                  <a:pt x="903276" y="201168"/>
                  <a:pt x="811550" y="198120"/>
                </a:cubicBezTo>
                <a:cubicBezTo>
                  <a:pt x="614478" y="191452"/>
                  <a:pt x="417310" y="184785"/>
                  <a:pt x="220238" y="178213"/>
                </a:cubicBezTo>
                <a:cubicBezTo>
                  <a:pt x="217381" y="178308"/>
                  <a:pt x="214428" y="179451"/>
                  <a:pt x="200331" y="182213"/>
                </a:cubicBezTo>
                <a:close/>
              </a:path>
            </a:pathLst>
          </a:custGeom>
          <a:solidFill>
            <a:srgbClr val="1E3F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DA4788B6-8049-A04E-CFB5-29D8260EDEC9}"/>
              </a:ext>
            </a:extLst>
          </p:cNvPr>
          <p:cNvSpPr/>
          <p:nvPr/>
        </p:nvSpPr>
        <p:spPr>
          <a:xfrm>
            <a:off x="817289" y="1949824"/>
            <a:ext cx="4973911" cy="48098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ar-MA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شرائح خاصة بالأستاذ(ة)</a:t>
            </a: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BDA5165D-B66C-8AB4-7F2E-C24C879C4443}"/>
              </a:ext>
            </a:extLst>
          </p:cNvPr>
          <p:cNvSpPr/>
          <p:nvPr/>
        </p:nvSpPr>
        <p:spPr>
          <a:xfrm>
            <a:off x="817289" y="4856933"/>
            <a:ext cx="4973911" cy="48098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AE" sz="22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أمثلة على التوجيهات </a:t>
            </a:r>
            <a:r>
              <a:rPr lang="ar-MA" sz="22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للأستاذ(ة)</a:t>
            </a:r>
            <a:endParaRPr lang="en-US" sz="2200" b="1" dirty="0">
              <a:solidFill>
                <a:srgbClr val="1F497D">
                  <a:lumMod val="50000"/>
                </a:srgb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F35DCF3D-3173-69AF-50AD-7F7B005BF988}"/>
              </a:ext>
            </a:extLst>
          </p:cNvPr>
          <p:cNvSpPr/>
          <p:nvPr/>
        </p:nvSpPr>
        <p:spPr>
          <a:xfrm>
            <a:off x="467544" y="3403379"/>
            <a:ext cx="5832647" cy="48098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20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إرشادات للشروحات والتعليمات التي يجب على الأستاذ(ة) قولها</a:t>
            </a:r>
          </a:p>
        </p:txBody>
      </p:sp>
      <p:sp>
        <p:nvSpPr>
          <p:cNvPr id="29" name="ZoneTexte 5">
            <a:extLst>
              <a:ext uri="{FF2B5EF4-FFF2-40B4-BE49-F238E27FC236}">
                <a16:creationId xmlns:a16="http://schemas.microsoft.com/office/drawing/2014/main" id="{18E341A8-25B5-CCD0-4102-D1DE21A48A7E}"/>
              </a:ext>
            </a:extLst>
          </p:cNvPr>
          <p:cNvSpPr txBox="1"/>
          <p:nvPr/>
        </p:nvSpPr>
        <p:spPr>
          <a:xfrm>
            <a:off x="7398676" y="277065"/>
            <a:ext cx="1432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خاص بالأستاذ</a:t>
            </a:r>
            <a:endParaRPr kumimoji="0" lang="fr-MA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30" name="TextBox 9">
            <a:extLst>
              <a:ext uri="{FF2B5EF4-FFF2-40B4-BE49-F238E27FC236}">
                <a16:creationId xmlns:a16="http://schemas.microsoft.com/office/drawing/2014/main" id="{2998D8A0-373E-CBC3-F39E-C85374E71F84}"/>
              </a:ext>
            </a:extLst>
          </p:cNvPr>
          <p:cNvSpPr txBox="1"/>
          <p:nvPr/>
        </p:nvSpPr>
        <p:spPr>
          <a:xfrm>
            <a:off x="2713389" y="554185"/>
            <a:ext cx="3717222" cy="30354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توجيهات لاستعمال العرض </a:t>
            </a:r>
          </a:p>
        </p:txBody>
      </p:sp>
      <p:sp>
        <p:nvSpPr>
          <p:cNvPr id="31" name="ZoneTexte 22">
            <a:extLst>
              <a:ext uri="{FF2B5EF4-FFF2-40B4-BE49-F238E27FC236}">
                <a16:creationId xmlns:a16="http://schemas.microsoft.com/office/drawing/2014/main" id="{88659CF0-BA6E-C878-75EA-55C10A2045E0}"/>
              </a:ext>
            </a:extLst>
          </p:cNvPr>
          <p:cNvSpPr txBox="1"/>
          <p:nvPr/>
        </p:nvSpPr>
        <p:spPr>
          <a:xfrm>
            <a:off x="7174889" y="4743446"/>
            <a:ext cx="106279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63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يقرأ المدرس الأرقام بإنشاد</a:t>
            </a:r>
            <a:endParaRPr kumimoji="0" lang="fr-FR" sz="160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Freeform 2">
            <a:extLst>
              <a:ext uri="{FF2B5EF4-FFF2-40B4-BE49-F238E27FC236}">
                <a16:creationId xmlns:a16="http://schemas.microsoft.com/office/drawing/2014/main" id="{32B7E36B-BF0C-EFFA-0A37-FCC534E30EF9}"/>
              </a:ext>
            </a:extLst>
          </p:cNvPr>
          <p:cNvSpPr/>
          <p:nvPr/>
        </p:nvSpPr>
        <p:spPr>
          <a:xfrm>
            <a:off x="-1229" y="5415088"/>
            <a:ext cx="1174020" cy="1455354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 dirty="0"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8254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643FDCD-2FAD-C66D-6345-99F9405A6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0851353B-BC1D-EDB4-DAE8-3DA7D6BC570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4AC248D6-AFDB-FA97-F46A-F302C1655F11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كتبوا عدد الأقراص بالأرقام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A8784008-202F-ADDD-5C34-267A0A65B07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21184" y="629309"/>
            <a:ext cx="756084" cy="537660"/>
          </a:xfrm>
          <a:prstGeom prst="round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49948FB-B25E-E5AA-35EC-D30958D81B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671" y="2644072"/>
            <a:ext cx="8504657" cy="1569856"/>
          </a:xfrm>
          <a:prstGeom prst="rect">
            <a:avLst/>
          </a:prstGeo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82E3A27A-9227-BE72-9125-C6462147E820}"/>
              </a:ext>
            </a:extLst>
          </p:cNvPr>
          <p:cNvSpPr/>
          <p:nvPr/>
        </p:nvSpPr>
        <p:spPr>
          <a:xfrm>
            <a:off x="687148" y="2897232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1C050C12-F9A6-E128-DC70-AD72C37A188E}"/>
              </a:ext>
            </a:extLst>
          </p:cNvPr>
          <p:cNvSpPr/>
          <p:nvPr/>
        </p:nvSpPr>
        <p:spPr>
          <a:xfrm>
            <a:off x="2391621" y="2928524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CE9C2EC-F90B-3E4A-FD56-2A7D768CE70B}"/>
              </a:ext>
            </a:extLst>
          </p:cNvPr>
          <p:cNvSpPr/>
          <p:nvPr/>
        </p:nvSpPr>
        <p:spPr>
          <a:xfrm>
            <a:off x="4096094" y="2928524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34FCC4D2-CEA6-DE14-E5F4-500406FE7E5E}"/>
              </a:ext>
            </a:extLst>
          </p:cNvPr>
          <p:cNvSpPr/>
          <p:nvPr/>
        </p:nvSpPr>
        <p:spPr>
          <a:xfrm>
            <a:off x="5751429" y="2928524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CFB0E0E9-87E5-DDBF-9DFD-163FC53D784F}"/>
              </a:ext>
            </a:extLst>
          </p:cNvPr>
          <p:cNvSpPr/>
          <p:nvPr/>
        </p:nvSpPr>
        <p:spPr>
          <a:xfrm>
            <a:off x="7406764" y="2928524"/>
            <a:ext cx="1000952" cy="100095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93740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7CF7E3E-8341-48E4-3204-E4849AE46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7F6C47F-BF69-9217-B48A-934F4321F92E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6BD3CCC4-44D9-411D-1224-03CBB29CB743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. خمسة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EF3657CF-F40E-D13E-A7AF-A619DC671A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87" y="612505"/>
            <a:ext cx="1444751" cy="1035965"/>
          </a:xfrm>
          <a:prstGeom prst="rect">
            <a:avLst/>
          </a:prstGeom>
        </p:spPr>
      </p:pic>
      <p:sp>
        <p:nvSpPr>
          <p:cNvPr id="10" name="Google Shape;344;p15">
            <a:extLst>
              <a:ext uri="{FF2B5EF4-FFF2-40B4-BE49-F238E27FC236}">
                <a16:creationId xmlns:a16="http://schemas.microsoft.com/office/drawing/2014/main" id="{8CEEB87A-02EB-46C8-8934-694C1795B4A3}"/>
              </a:ext>
            </a:extLst>
          </p:cNvPr>
          <p:cNvSpPr txBox="1"/>
          <p:nvPr/>
        </p:nvSpPr>
        <p:spPr>
          <a:xfrm>
            <a:off x="2971800" y="473945"/>
            <a:ext cx="3200400" cy="450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ar-MA" sz="28700">
                <a:solidFill>
                  <a:srgbClr val="002060"/>
                </a:solidFill>
                <a:latin typeface="Calibri"/>
                <a:ea typeface="Calibri"/>
                <a:sym typeface="Calibri"/>
              </a:rPr>
              <a:t>5</a:t>
            </a:r>
            <a:endParaRPr>
              <a:solidFill>
                <a:srgbClr val="00206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2A35374-874E-3BC5-3125-044EDF36D90B}"/>
              </a:ext>
            </a:extLst>
          </p:cNvPr>
          <p:cNvSpPr txBox="1"/>
          <p:nvPr/>
        </p:nvSpPr>
        <p:spPr>
          <a:xfrm>
            <a:off x="3431193" y="4982872"/>
            <a:ext cx="24734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MA" sz="600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خَمْسَةٌ</a:t>
            </a:r>
            <a:endParaRPr lang="fr-FR" sz="600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5720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DDE7A29-D798-E6BF-88A9-33EE8B5B8B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8774DFCB-0D96-516F-EDB7-84ADFFFE5C3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AE544309-051C-0E1E-5D0D-1DAA508C1338}"/>
              </a:ext>
            </a:extLst>
          </p:cNvPr>
          <p:cNvSpPr txBox="1"/>
          <p:nvPr/>
        </p:nvSpPr>
        <p:spPr>
          <a:xfrm>
            <a:off x="759329" y="510575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  <a:spcAft>
                <a:spcPts val="800"/>
              </a:spcAft>
            </a:pPr>
            <a:r>
              <a:rPr lang="ar-MA" b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في درس اليوم سنتعلم كيف نفكك العددين 2 و3.</a:t>
            </a:r>
            <a:endParaRPr lang="fr-MA" b="1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0E29129-FCFD-75F5-BDC7-E4B83BB545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217" y="2683465"/>
            <a:ext cx="8143565" cy="234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7097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6ACC123-8E56-B669-F405-3F4D1081F9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6467454-0A8F-C94F-FF7A-193BA1E805D4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CE09179B-12C1-E5AB-2BDA-EE74D4D11A1B}"/>
              </a:ext>
            </a:extLst>
          </p:cNvPr>
          <p:cNvSpPr txBox="1"/>
          <p:nvPr/>
        </p:nvSpPr>
        <p:spPr>
          <a:xfrm>
            <a:off x="668695" y="526975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lnSpc>
                <a:spcPct val="115000"/>
              </a:lnSpc>
              <a:spcAft>
                <a:spcPts val="800"/>
              </a:spcAft>
            </a:pPr>
            <a:r>
              <a:rPr lang="ar-MA" b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ضعوا أدواتكم على الطاولة : اللوحة والقلم، الكراسة، قلم الرصاص</a:t>
            </a:r>
            <a:endParaRPr lang="fr-MA" b="1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3A01777-B08B-DCC1-B6FF-46387FECC8A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99792" y="2366186"/>
            <a:ext cx="1390875" cy="2122915"/>
          </a:xfrm>
          <a:prstGeom prst="rect">
            <a:avLst/>
          </a:prstGeom>
          <a:ln>
            <a:noFill/>
          </a:ln>
          <a:effectLst/>
        </p:spPr>
      </p:pic>
      <p:sp>
        <p:nvSpPr>
          <p:cNvPr id="8" name="Rectangle : coins arrondis 20">
            <a:extLst>
              <a:ext uri="{FF2B5EF4-FFF2-40B4-BE49-F238E27FC236}">
                <a16:creationId xmlns:a16="http://schemas.microsoft.com/office/drawing/2014/main" id="{55618918-9777-A21B-0BCD-03B83178CBF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39552" y="4888456"/>
            <a:ext cx="151828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قلم الرصاص</a:t>
            </a:r>
            <a:endParaRPr lang="fr-FR" sz="1600" b="1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BDE4094-2C57-7196-CDB9-105B7E4041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699792" y="4891554"/>
            <a:ext cx="137332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كراسة المتعلم</a:t>
            </a:r>
            <a:endParaRPr lang="fr-FR" sz="1600" b="1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6461A5A5-AE60-3B54-1A8A-3A8DF630013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025" t="14561" r="11389" b="14089"/>
          <a:stretch/>
        </p:blipFill>
        <p:spPr>
          <a:xfrm>
            <a:off x="6891902" y="2834392"/>
            <a:ext cx="1672332" cy="1189216"/>
          </a:xfrm>
          <a:prstGeom prst="roundRect">
            <a:avLst/>
          </a:prstGeom>
        </p:spPr>
      </p:pic>
      <p:sp>
        <p:nvSpPr>
          <p:cNvPr id="14" name="Rectangle : coins arrondis 20">
            <a:extLst>
              <a:ext uri="{FF2B5EF4-FFF2-40B4-BE49-F238E27FC236}">
                <a16:creationId xmlns:a16="http://schemas.microsoft.com/office/drawing/2014/main" id="{5874B16D-0CBC-8597-DDD6-B241A0C790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717487" y="4872732"/>
            <a:ext cx="1613040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قلم اللبد أو الطبشور</a:t>
            </a:r>
            <a:endParaRPr lang="fr-FR" sz="1600" b="1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" name="Rectangle : coins arrondis 20">
            <a:extLst>
              <a:ext uri="{FF2B5EF4-FFF2-40B4-BE49-F238E27FC236}">
                <a16:creationId xmlns:a16="http://schemas.microsoft.com/office/drawing/2014/main" id="{A033ACBB-0612-EFC5-2C22-07304858017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017775" y="4872732"/>
            <a:ext cx="151828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اللوحة</a:t>
            </a:r>
            <a:endParaRPr lang="fr-FR" sz="1600" b="1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6" name="Image 15" descr="Une image contenant texte, fournitures de bureau&#10;&#10;Description générée automatiquement">
            <a:extLst>
              <a:ext uri="{FF2B5EF4-FFF2-40B4-BE49-F238E27FC236}">
                <a16:creationId xmlns:a16="http://schemas.microsoft.com/office/drawing/2014/main" id="{2EB2A14A-31E1-A88E-5237-66FA0BB405C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5144399" y="2334750"/>
            <a:ext cx="1186128" cy="1422257"/>
          </a:xfrm>
          <a:prstGeom prst="rect">
            <a:avLst/>
          </a:prstGeom>
        </p:spPr>
      </p:pic>
      <p:pic>
        <p:nvPicPr>
          <p:cNvPr id="27" name="Picture 2" descr="صور قلم رصاص PNG الصور | ناقل و PSD الملفات | تحميل مجاني على Pngtree">
            <a:extLst>
              <a:ext uri="{FF2B5EF4-FFF2-40B4-BE49-F238E27FC236}">
                <a16:creationId xmlns:a16="http://schemas.microsoft.com/office/drawing/2014/main" id="{CC0B3418-6F43-A1EE-0FB7-F0D1D1E65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61" y="3045879"/>
            <a:ext cx="1444578" cy="1444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F7E76810-316B-6443-7DEA-57357E23849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7726" y="756815"/>
            <a:ext cx="917463" cy="806256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C473C9D-45F1-6D7B-58C7-A4BB79D002E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961598" y="3713746"/>
            <a:ext cx="1120237" cy="998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9034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75046-D327-CBCA-5FD2-A7FA559A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F7C0A4B-B1F0-ABD8-D604-EA7FE6BF6440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D7083EFA-4931-086B-4677-E559A61DC1E2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F7B80CEE-EF85-F60C-1AD2-8ACD885F40CD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أنشطة تمهيدية 1/3 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BF2ECF8D-27F6-F5DD-06AA-B8EF9492112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58F755C-F06E-B25D-B5A7-240CFF8CEA67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62EDB2A-6233-5C90-30CD-C686608A86D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23928" y="3717032"/>
            <a:ext cx="1472378" cy="218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2538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9564605-AA2B-4345-BDCC-8949E02A8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DE9F599B-A2A6-9E50-B474-74D26235B7D9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B188CB11-9FE2-2A22-C350-B6425F9338BA}"/>
              </a:ext>
            </a:extLst>
          </p:cNvPr>
          <p:cNvSpPr txBox="1"/>
          <p:nvPr/>
        </p:nvSpPr>
        <p:spPr>
          <a:xfrm>
            <a:off x="1154747" y="562563"/>
            <a:ext cx="7315199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نتبهوا. لدينا تفاحتان ... 2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8544C735-E329-90F4-B18B-9B10FB40C35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C0E35375-1EA3-D70D-305D-7FCC251BE6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78049" y="1725963"/>
            <a:ext cx="981917" cy="112697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4E548CA-7DDA-E300-14CE-F2DCD2D9FD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0203" y="1725963"/>
            <a:ext cx="981917" cy="1126973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2515EC-51F0-BD0C-0107-1E64509539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E93C7F30-5531-489E-FE4F-A792D322550E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/>
              <a:t>2</a:t>
            </a:r>
            <a:endParaRPr lang="fr-FR" sz="7200"/>
          </a:p>
        </p:txBody>
      </p:sp>
    </p:spTree>
    <p:extLst>
      <p:ext uri="{BB962C8B-B14F-4D97-AF65-F5344CB8AC3E}">
        <p14:creationId xmlns:p14="http://schemas.microsoft.com/office/powerpoint/2010/main" val="34877382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D2DA985-23BF-6EE8-D755-39C10B46C0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9FA4A4F5-B86D-1823-FC17-10333C50AD2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B1B50ABE-970F-C628-E5E3-226FBE2F65E3}"/>
              </a:ext>
            </a:extLst>
          </p:cNvPr>
          <p:cNvSpPr txBox="1"/>
          <p:nvPr/>
        </p:nvSpPr>
        <p:spPr>
          <a:xfrm>
            <a:off x="1154747" y="562563"/>
            <a:ext cx="7315199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تفاحة واحدة حمراء. أكتب 1 في الدائرة الحمراء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88A7C25-090D-1302-2B77-B1B25583F57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C417A312-91C9-5785-5BCB-1303EC1003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78049" y="1725963"/>
            <a:ext cx="981917" cy="112697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2EA213BF-DD54-A9E1-B287-C5D6E9A498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0203" y="1725963"/>
            <a:ext cx="981917" cy="112697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29DEBCA-E5D9-B164-7A4B-7A0944F867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E5FE4F8E-ABF1-889C-CB4C-2F7B9B8CABBE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/>
              <a:t>2</a:t>
            </a:r>
            <a:endParaRPr lang="fr-FR" sz="720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F4AE635A-C9F9-A030-1675-6EAEBF00500E}"/>
              </a:ext>
            </a:extLst>
          </p:cNvPr>
          <p:cNvSpPr txBox="1"/>
          <p:nvPr/>
        </p:nvSpPr>
        <p:spPr>
          <a:xfrm>
            <a:off x="3422220" y="450503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02351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9C202C1-66BD-F038-C67B-E9C7EA95A2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EA83B05B-002E-7427-3122-64CFE3B0795C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AED90451-2815-BC9C-4D87-D0C0FD322872}"/>
              </a:ext>
            </a:extLst>
          </p:cNvPr>
          <p:cNvSpPr txBox="1"/>
          <p:nvPr/>
        </p:nvSpPr>
        <p:spPr>
          <a:xfrm>
            <a:off x="1154747" y="562563"/>
            <a:ext cx="7315199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ea typeface="Calibri"/>
                <a:cs typeface="Calibri"/>
                <a:sym typeface="Calibri"/>
              </a:rPr>
              <a:t>وتفاحة واحدة خضراء. أكتب 1 في الخانة الزرقاء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C144571-D033-C361-E71D-C1838D9592A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BC24D5D-0BA6-F1E0-CA86-682E03DA3F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78049" y="1725963"/>
            <a:ext cx="981917" cy="112697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34939DAC-E386-3DA1-D36D-033450D65A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0203" y="1725963"/>
            <a:ext cx="981917" cy="112697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037CA7E-F78E-BFE8-D42E-E1EEC393F2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91AD8151-FC43-9DEF-03EF-84AA34E5C49F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/>
              <a:t>2</a:t>
            </a:r>
            <a:endParaRPr lang="fr-FR" sz="720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D27A0347-F0BB-E416-4310-6BAC93BE93E4}"/>
              </a:ext>
            </a:extLst>
          </p:cNvPr>
          <p:cNvSpPr txBox="1"/>
          <p:nvPr/>
        </p:nvSpPr>
        <p:spPr>
          <a:xfrm>
            <a:off x="3398059" y="4522474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633A7A2-C6C4-8418-27AD-F2DD4858456B}"/>
              </a:ext>
            </a:extLst>
          </p:cNvPr>
          <p:cNvSpPr txBox="1"/>
          <p:nvPr/>
        </p:nvSpPr>
        <p:spPr>
          <a:xfrm>
            <a:off x="5161161" y="4573854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60299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964A7AC-A8EB-72F8-879B-B51C379AC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0F0BBB14-119F-D4AE-6750-0EBB0EE9CD04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E84E2043-5643-1A39-FBAA-F7DB4D3FE650}"/>
              </a:ext>
            </a:extLst>
          </p:cNvPr>
          <p:cNvSpPr txBox="1"/>
          <p:nvPr/>
        </p:nvSpPr>
        <p:spPr>
          <a:xfrm>
            <a:off x="1154747" y="489782"/>
            <a:ext cx="7315199" cy="615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ea typeface="Calibri"/>
                <a:cs typeface="Calibri"/>
                <a:sym typeface="Calibri"/>
              </a:rPr>
              <a:t>هكذا قمت بتفكيك العد 2.</a:t>
            </a:r>
          </a:p>
          <a:p>
            <a:pPr algn="r" rtl="1"/>
            <a:r>
              <a:rPr lang="ar-MA" b="1" dirty="0">
                <a:solidFill>
                  <a:srgbClr val="A5A5A5"/>
                </a:solidFill>
                <a:ea typeface="Calibri"/>
                <a:cs typeface="Calibri"/>
                <a:sym typeface="Calibri"/>
              </a:rPr>
              <a:t>العدد 2 هو 1 و1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0E7AE2D-7751-4413-D8F4-DFE4A647913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A94FE954-6945-DEF4-9293-CDAFEA127E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78049" y="1725963"/>
            <a:ext cx="981917" cy="112697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8C950061-C1F1-C531-62BE-954A401A59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0203" y="1725963"/>
            <a:ext cx="981917" cy="112697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E798D7B-0912-112D-44A4-1C0072106B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42623279-72F2-D189-2353-4A904FA366EB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/>
              <a:t>2</a:t>
            </a:r>
            <a:endParaRPr lang="fr-FR" sz="720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86992C40-697A-8555-C05C-8C3565F4FD74}"/>
              </a:ext>
            </a:extLst>
          </p:cNvPr>
          <p:cNvSpPr txBox="1"/>
          <p:nvPr/>
        </p:nvSpPr>
        <p:spPr>
          <a:xfrm>
            <a:off x="3417004" y="4573854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16066FF4-6776-77BB-F8BD-1693A4D6B97A}"/>
              </a:ext>
            </a:extLst>
          </p:cNvPr>
          <p:cNvSpPr txBox="1"/>
          <p:nvPr/>
        </p:nvSpPr>
        <p:spPr>
          <a:xfrm>
            <a:off x="5161161" y="4573853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52506998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A387E72-5952-29BE-AD20-0FCF9F2D7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216E8573-B299-E7D2-22E4-D3C3BC21E3E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A6D5A2FC-763A-6D16-D68D-1EFCCBEFF64F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آن سنشتغل على الكراسات. خذوا الصفحة 12.</a:t>
            </a:r>
            <a:r>
              <a:rPr lang="fr-FR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النشاط رقم 1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10DAD16-0447-7F19-3F84-036782CFE5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BD5EADE-22BD-E4E0-3CFF-5003DE2FB8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311" y="2154406"/>
            <a:ext cx="8401377" cy="3493461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E84DC3BE-F850-5A0C-1F96-5FBE460E3672}"/>
              </a:ext>
            </a:extLst>
          </p:cNvPr>
          <p:cNvSpPr/>
          <p:nvPr/>
        </p:nvSpPr>
        <p:spPr>
          <a:xfrm>
            <a:off x="322151" y="1988841"/>
            <a:ext cx="8495962" cy="382459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1530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9144000" cy="6858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 t="-5555" b="-5555"/>
              </a:stretch>
            </a:blipFill>
            <a:ln>
              <a:noFill/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271776"/>
              <a:ext cx="12001500" cy="9516240"/>
              <a:chOff x="800100" y="271776"/>
              <a:chExt cx="12001500" cy="9516240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23019"/>
                <a:ext cx="12001500" cy="8964997"/>
                <a:chOff x="0" y="-506922"/>
                <a:chExt cx="3895412" cy="3664738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506922"/>
                  <a:ext cx="3895412" cy="36647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2B7589"/>
                  </a:solidFill>
                </a:ln>
              </p:spPr>
              <p:txBody>
                <a:bodyPr/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lIns="25400" tIns="25400" rIns="25400" bIns="25400" rtlCol="0" anchor="ctr"/>
                <a:lstStyle/>
                <a:p>
                  <a:pPr marL="0" marR="0" lvl="0" indent="0" algn="ctr" defTabSz="609630" rtl="0" eaLnBrk="1" fontAlgn="auto" latinLnBrk="0" hangingPunct="1">
                    <a:lnSpc>
                      <a:spcPts val="1605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800100" y="271776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8" name="Rectangle : coins arrondis 95">
            <a:extLst>
              <a:ext uri="{FF2B5EF4-FFF2-40B4-BE49-F238E27FC236}">
                <a16:creationId xmlns:a16="http://schemas.microsoft.com/office/drawing/2014/main" id="{E7EE83DA-B173-8904-FF97-439EA153238B}"/>
              </a:ext>
            </a:extLst>
          </p:cNvPr>
          <p:cNvSpPr/>
          <p:nvPr/>
        </p:nvSpPr>
        <p:spPr>
          <a:xfrm flipH="1" flipV="1">
            <a:off x="1925088" y="627649"/>
            <a:ext cx="5614492" cy="532201"/>
          </a:xfrm>
          <a:prstGeom prst="roundRect">
            <a:avLst>
              <a:gd name="adj" fmla="val 50000"/>
            </a:avLst>
          </a:prstGeom>
          <a:solidFill>
            <a:srgbClr val="005664"/>
          </a:solidFill>
          <a:ln w="13658" cap="flat">
            <a:solidFill>
              <a:srgbClr val="005664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ir Strip Arabic" panose="02000500000000000000" pitchFamily="2" charset="-78"/>
              <a:cs typeface="Air Strip Arabic" panose="020005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263961" y="1751001"/>
            <a:ext cx="1275001" cy="1112031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12984" y="3193347"/>
            <a:ext cx="2979740" cy="35907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حاسوب جاهز يتضمن شرائح الدرس 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245814" y="3180438"/>
            <a:ext cx="1337413" cy="35907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مؤشر الليزر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67960" y="1563756"/>
            <a:ext cx="1488108" cy="1486521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086025" y="3180438"/>
            <a:ext cx="2343704" cy="366169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مطابقة الشرائح لإطار العرض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6299CF6B-CE2B-791D-2D1B-A9B2C262C87F}"/>
              </a:ext>
            </a:extLst>
          </p:cNvPr>
          <p:cNvGrpSpPr/>
          <p:nvPr/>
        </p:nvGrpSpPr>
        <p:grpSpPr>
          <a:xfrm>
            <a:off x="5730130" y="1837924"/>
            <a:ext cx="2461234" cy="938185"/>
            <a:chOff x="5927422" y="1637467"/>
            <a:chExt cx="2461234" cy="938185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A7A319C-C059-FFD4-BBFE-F1EB25D84478}"/>
                </a:ext>
              </a:extLst>
            </p:cNvPr>
            <p:cNvSpPr/>
            <p:nvPr/>
          </p:nvSpPr>
          <p:spPr>
            <a:xfrm>
              <a:off x="5927422" y="1772816"/>
              <a:ext cx="2461234" cy="713503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FBA1A5D-E1CE-DD81-3A1B-57A43E892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607429" y="1637467"/>
              <a:ext cx="1112060" cy="938185"/>
            </a:xfrm>
            <a:prstGeom prst="rect">
              <a:avLst/>
            </a:prstGeom>
          </p:spPr>
        </p:pic>
      </p:grpSp>
      <p:pic>
        <p:nvPicPr>
          <p:cNvPr id="23" name="Image 22">
            <a:extLst>
              <a:ext uri="{FF2B5EF4-FFF2-40B4-BE49-F238E27FC236}">
                <a16:creationId xmlns:a16="http://schemas.microsoft.com/office/drawing/2014/main" id="{0143C57D-A2FA-01FE-5D75-2F61EA5C90F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59338" y="3884683"/>
            <a:ext cx="1299932" cy="18385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D44BCAAB-230D-8B5D-8B99-F47C451DA85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578687" y="5845512"/>
            <a:ext cx="2461234" cy="611979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المذكرة اليومية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 -</a:t>
            </a: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 خطاطة ذهنية 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302515" y="795475"/>
            <a:ext cx="5013577" cy="3640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457246" rtl="1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8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الشروط و</a:t>
            </a: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الوسائل الديداكتيكية والتقنية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95737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2D9001C-5E9B-973C-DF98-8A3BA045C7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005B928-A12A-9CC1-D3F2-FC1B9E88E3A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86F6FBDA-D3E0-DBFD-D570-4840B8ECB796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احظوا التفاحتين وأكملوا تفكيك العدد 2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B519DFA-B5D8-38B1-66F3-3C8644F1E0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AAA1774-B1DC-05AD-A363-2F0B3E3D98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311" y="2154406"/>
            <a:ext cx="8401377" cy="3493461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ABC74FC6-F703-75AB-AF4A-89E07A0F8F35}"/>
              </a:ext>
            </a:extLst>
          </p:cNvPr>
          <p:cNvSpPr/>
          <p:nvPr/>
        </p:nvSpPr>
        <p:spPr>
          <a:xfrm>
            <a:off x="3356811" y="2722285"/>
            <a:ext cx="2550694" cy="292558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lèche : bas 2">
            <a:extLst>
              <a:ext uri="{FF2B5EF4-FFF2-40B4-BE49-F238E27FC236}">
                <a16:creationId xmlns:a16="http://schemas.microsoft.com/office/drawing/2014/main" id="{29CE1D6C-D3EB-0217-FC97-AB4A9BDE1E92}"/>
              </a:ext>
            </a:extLst>
          </p:cNvPr>
          <p:cNvSpPr/>
          <p:nvPr/>
        </p:nvSpPr>
        <p:spPr>
          <a:xfrm>
            <a:off x="4310777" y="2246141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9857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A65FD7E-4007-3D91-1650-842D46816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FA96F687-921B-EBA6-F495-C6E0989F8DC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D52B3D9B-51C3-4529-0E47-951A9C3D4D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1720" y="2204864"/>
            <a:ext cx="4320480" cy="3022400"/>
          </a:xfrm>
          <a:prstGeom prst="rect">
            <a:avLst/>
          </a:prstGeom>
          <a:effectLst/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50214C51-BB0B-9921-5807-CC4C4DD42D0C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كل واحد منكم يشرح لزميله كيف قام بذلك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3826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D3B2ABB-9A11-C5D4-B982-18630C760C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F569D1B3-B7D6-64D1-C3B9-3D7FE6EA82D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D4E1153A-817D-C441-5A23-AEE695C891EE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قلوا النتيجة على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C899BB0-9995-8B8B-B665-22706B3EE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911" y="2169000"/>
            <a:ext cx="3924179" cy="2520000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82EF8197-B4EF-FA2A-FEC7-2A48E121C19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13388606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2A882BD-BAA4-3207-2FFD-678C51E99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10E6CEDC-188B-6121-524E-831B00DB53F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2B867E94-C83A-EB09-31D1-AF5D302EB2DE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F3D8F328-9D0A-BA4D-ABC2-B91E831A65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F729C3E-94DC-D543-A97A-D435DDA85F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3696" y="2169000"/>
            <a:ext cx="3768019" cy="270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3540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4A3A276-217B-7B77-9144-42D7E54D0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D8C12C35-EE9E-46A9-5B3C-A022496C83E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45F594E5-D3FC-33F1-E8E3-E4FB2E0AB674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55FF58B-3E47-B3A6-5BB1-C5CFD9E59B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616F512A-735F-6B8E-AF92-E48B6492C2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6207" y="1988840"/>
            <a:ext cx="8391584" cy="3489389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80240345-E3BD-3247-AF39-4D43DED261FA}"/>
              </a:ext>
            </a:extLst>
          </p:cNvPr>
          <p:cNvSpPr txBox="1"/>
          <p:nvPr/>
        </p:nvSpPr>
        <p:spPr>
          <a:xfrm>
            <a:off x="4107273" y="4256949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DCF42B76-2531-CDFA-D704-4AE2877489BD}"/>
              </a:ext>
            </a:extLst>
          </p:cNvPr>
          <p:cNvSpPr/>
          <p:nvPr/>
        </p:nvSpPr>
        <p:spPr>
          <a:xfrm>
            <a:off x="3380743" y="2545305"/>
            <a:ext cx="2586791" cy="269192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8453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75046-D327-CBCA-5FD2-A7FA559A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F7C0A4B-B1F0-ABD8-D604-EA7FE6BF6440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D7083EFA-4931-086B-4677-E559A61DC1E2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F7B80CEE-EF85-F60C-1AD2-8ACD885F40CD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أنشطة تمهيدية 2/3 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BF2ECF8D-27F6-F5DD-06AA-B8EF9492112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58F755C-F06E-B25D-B5A7-240CFF8CEA67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62EDB2A-6233-5C90-30CD-C686608A86D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23928" y="3717032"/>
            <a:ext cx="1472378" cy="218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4066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07E5C19-E799-8B39-511D-393BC3DF0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F1016A44-7247-8153-ACFC-AA6BBB5D717D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BFCF3DDC-A255-19B1-200E-3EFA255311D4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الآن لدينا 3 </a:t>
            </a:r>
            <a:r>
              <a:rPr lang="ar-MA" b="1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تفاحات</a:t>
            </a: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... 3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F14EF1A-CE72-B672-997C-803BA215B99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5C38522-7E4C-1B77-A315-33C44F4C75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9544" y="1725963"/>
            <a:ext cx="981917" cy="112697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3507B772-B48D-EC60-C9F3-EAAB9C370D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1698" y="1725963"/>
            <a:ext cx="981917" cy="112697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80B81CF9-2FC2-962E-FAC5-9A14ED2CEB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3848" y="1725962"/>
            <a:ext cx="981917" cy="112697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DF1B3B7-5291-6721-0B23-FB7B462FA1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72573" y="3131920"/>
            <a:ext cx="1221462" cy="1237120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A0E4A145-6CD6-3CF1-EE3F-D9A61EAB9B81}"/>
              </a:ext>
            </a:extLst>
          </p:cNvPr>
          <p:cNvSpPr txBox="1"/>
          <p:nvPr/>
        </p:nvSpPr>
        <p:spPr>
          <a:xfrm>
            <a:off x="4350940" y="3183935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/>
              <a:t>3</a:t>
            </a:r>
            <a:endParaRPr lang="fr-FR" sz="7200"/>
          </a:p>
        </p:txBody>
      </p:sp>
    </p:spTree>
    <p:extLst>
      <p:ext uri="{BB962C8B-B14F-4D97-AF65-F5344CB8AC3E}">
        <p14:creationId xmlns:p14="http://schemas.microsoft.com/office/powerpoint/2010/main" val="10322542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215BBAE-5CCC-79C1-6B4C-DA614E6223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1F79039B-9489-3284-2F47-A0C9FE8D669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AF046DAB-2B4F-F734-CC6E-30DD76D84E61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تفاحتان حمراوان.  أكتب 2 في الدائرة الحمراء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E022486-21FC-C154-932F-DD03CFE2958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04669CA8-F8C4-663A-E955-7B500DFC03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9544" y="1725963"/>
            <a:ext cx="981917" cy="112697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C62D3201-91B0-23E3-151B-962BA8BFBF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1698" y="1725963"/>
            <a:ext cx="981917" cy="112697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5A64243-2C60-E47C-4A92-859B98880A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3848" y="1725962"/>
            <a:ext cx="981917" cy="112697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99B2195-4C99-0CEB-F37F-9A1806A996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0BCCED1E-28FD-A3FD-D2CD-34EADBF4DE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DC7A6772-2901-4C1C-A125-A7E3D51DC78A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/>
              <a:t>3</a:t>
            </a:r>
            <a:endParaRPr lang="fr-FR" sz="720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BBB9D44-8731-EEC8-3731-733A92B3D667}"/>
              </a:ext>
            </a:extLst>
          </p:cNvPr>
          <p:cNvSpPr txBox="1"/>
          <p:nvPr/>
        </p:nvSpPr>
        <p:spPr>
          <a:xfrm>
            <a:off x="3426125" y="4515299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349712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4BB01CD-0082-354E-E112-0BDF883AD2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953D9183-1F38-6675-A3DC-FF611CBF5B85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4E95E2FE-9EAE-5072-DDFD-EA98A07F57F4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وتفاحة واحدة خضراء. أكتب 1 في الدائرة الزرقاء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289BE966-0771-4D88-1240-4903EB341FE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22EE2967-96CD-DEF0-BF93-DC460F4F36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9544" y="1725963"/>
            <a:ext cx="981917" cy="112697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CC0C982B-523A-3556-3A0F-BD19AEA639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1698" y="1725963"/>
            <a:ext cx="981917" cy="112697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22408077-665B-400A-D3DD-3A8081DAED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3848" y="1725962"/>
            <a:ext cx="981917" cy="112697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E6646CE-6BB8-24A1-2454-DEC0887A67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182C769-6107-19F0-BB6A-C5D0A8E737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532E9A03-FBA7-E8EB-06ED-919DB87295E1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/>
              <a:t>3</a:t>
            </a:r>
            <a:endParaRPr lang="fr-FR" sz="720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D9AE5299-FC1A-4CF1-66F1-2904727E0C52}"/>
              </a:ext>
            </a:extLst>
          </p:cNvPr>
          <p:cNvSpPr txBox="1"/>
          <p:nvPr/>
        </p:nvSpPr>
        <p:spPr>
          <a:xfrm>
            <a:off x="5182837" y="452778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04DA186-DA89-3957-431A-7864F5773FC6}"/>
              </a:ext>
            </a:extLst>
          </p:cNvPr>
          <p:cNvSpPr txBox="1"/>
          <p:nvPr/>
        </p:nvSpPr>
        <p:spPr>
          <a:xfrm>
            <a:off x="3426125" y="4515299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41852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4357D4-F373-D14F-B452-E247928CCA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FBE376A6-B159-D32F-28FB-2DEB961D7AC9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C5B019AA-97DD-775E-EB48-3CB00C1D43CA}"/>
              </a:ext>
            </a:extLst>
          </p:cNvPr>
          <p:cNvSpPr txBox="1"/>
          <p:nvPr/>
        </p:nvSpPr>
        <p:spPr>
          <a:xfrm>
            <a:off x="866880" y="472324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هكذا قمت بتفكيك العدد 3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3 هو 2 و1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2F5863E0-8C2B-4CC8-8FEE-A04A8A310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C2B86557-72E1-68D6-EF1A-3B1F822ABE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9544" y="1725963"/>
            <a:ext cx="981917" cy="112697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F1B57FA-1DF2-5643-1B22-BF8649CBD2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1698" y="1725963"/>
            <a:ext cx="981917" cy="112697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70B3B91A-80AB-DAD8-1945-5D6045FDDC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3848" y="1725962"/>
            <a:ext cx="981917" cy="112697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BF23D64-CF35-77F3-E22B-A521BC0C87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BE39E55-F509-6674-68FF-E57090E08B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29B4475B-A31A-BA79-3AA3-3D22A4B9A108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/>
              <a:t>3</a:t>
            </a:r>
            <a:endParaRPr lang="fr-FR" sz="720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0707114-4F1E-F669-19BA-42D360F1752D}"/>
              </a:ext>
            </a:extLst>
          </p:cNvPr>
          <p:cNvSpPr txBox="1"/>
          <p:nvPr/>
        </p:nvSpPr>
        <p:spPr>
          <a:xfrm>
            <a:off x="5182837" y="452778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31F1899-1F64-90FD-1D97-0BAAC8B62261}"/>
              </a:ext>
            </a:extLst>
          </p:cNvPr>
          <p:cNvSpPr txBox="1"/>
          <p:nvPr/>
        </p:nvSpPr>
        <p:spPr>
          <a:xfrm>
            <a:off x="3426125" y="4515299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806297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BF137F-5071-86EF-BC7D-A05FA865C9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97D6BF70-B609-50B5-F128-0D526B457F0E}"/>
              </a:ext>
            </a:extLst>
          </p:cNvPr>
          <p:cNvGrpSpPr/>
          <p:nvPr/>
        </p:nvGrpSpPr>
        <p:grpSpPr>
          <a:xfrm>
            <a:off x="312516" y="143093"/>
            <a:ext cx="8518967" cy="6196583"/>
            <a:chOff x="312517" y="227366"/>
            <a:chExt cx="8518967" cy="6196583"/>
          </a:xfrm>
        </p:grpSpPr>
        <p:sp>
          <p:nvSpPr>
            <p:cNvPr id="4" name="Rectangle : coins arrondis 3">
              <a:extLst>
                <a:ext uri="{FF2B5EF4-FFF2-40B4-BE49-F238E27FC236}">
                  <a16:creationId xmlns:a16="http://schemas.microsoft.com/office/drawing/2014/main" id="{06825DB6-3E52-8938-AB94-C49AB1934F77}"/>
                </a:ext>
              </a:extLst>
            </p:cNvPr>
            <p:cNvSpPr/>
            <p:nvPr/>
          </p:nvSpPr>
          <p:spPr>
            <a:xfrm>
              <a:off x="312517" y="636608"/>
              <a:ext cx="8518967" cy="5787341"/>
            </a:xfrm>
            <a:prstGeom prst="roundRect">
              <a:avLst>
                <a:gd name="adj" fmla="val 2439"/>
              </a:avLst>
            </a:prstGeom>
            <a:solidFill>
              <a:srgbClr val="F4FAFA"/>
            </a:solidFill>
            <a:ln w="28575">
              <a:solidFill>
                <a:srgbClr val="00566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6B4B956-43A2-B7FE-F35D-64A5CB1A23E1}"/>
                </a:ext>
              </a:extLst>
            </p:cNvPr>
            <p:cNvSpPr/>
            <p:nvPr/>
          </p:nvSpPr>
          <p:spPr>
            <a:xfrm>
              <a:off x="625110" y="227366"/>
              <a:ext cx="622415" cy="562981"/>
            </a:xfrm>
            <a:custGeom>
              <a:avLst/>
              <a:gdLst/>
              <a:ahLst/>
              <a:cxnLst/>
              <a:rect l="l" t="t" r="r" b="b"/>
              <a:pathLst>
                <a:path w="1239167" h="1189600">
                  <a:moveTo>
                    <a:pt x="0" y="0"/>
                  </a:moveTo>
                  <a:lnTo>
                    <a:pt x="1239167" y="0"/>
                  </a:lnTo>
                  <a:lnTo>
                    <a:pt x="1239167" y="1189600"/>
                  </a:lnTo>
                  <a:lnTo>
                    <a:pt x="0" y="11896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42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90" name="Rectangle : coins arrondis 89">
              <a:extLst>
                <a:ext uri="{FF2B5EF4-FFF2-40B4-BE49-F238E27FC236}">
                  <a16:creationId xmlns:a16="http://schemas.microsoft.com/office/drawing/2014/main" id="{A111852C-4360-26A7-680C-E10AF674C79B}"/>
                </a:ext>
              </a:extLst>
            </p:cNvPr>
            <p:cNvSpPr/>
            <p:nvPr/>
          </p:nvSpPr>
          <p:spPr>
            <a:xfrm flipH="1" flipV="1">
              <a:off x="2253541" y="368699"/>
              <a:ext cx="4636919" cy="532201"/>
            </a:xfrm>
            <a:prstGeom prst="roundRect">
              <a:avLst>
                <a:gd name="adj" fmla="val 50000"/>
              </a:avLst>
            </a:prstGeom>
            <a:solidFill>
              <a:srgbClr val="005664"/>
            </a:solidFill>
            <a:ln w="13658" cap="flat">
              <a:solidFill>
                <a:srgbClr val="005664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ir Strip Arabic" panose="02000500000000000000" pitchFamily="2" charset="-78"/>
                <a:ea typeface="+mn-ea"/>
                <a:cs typeface="Air Strip Arabic" panose="02000500000000000000" pitchFamily="2" charset="-78"/>
              </a:endParaRPr>
            </a:p>
          </p:txBody>
        </p:sp>
      </p:grpSp>
      <p:sp>
        <p:nvSpPr>
          <p:cNvPr id="114" name="ZoneTexte 5">
            <a:extLst>
              <a:ext uri="{FF2B5EF4-FFF2-40B4-BE49-F238E27FC236}">
                <a16:creationId xmlns:a16="http://schemas.microsoft.com/office/drawing/2014/main" id="{67D4F2B8-E3B3-F6D0-E2D8-178436CD494A}"/>
              </a:ext>
            </a:extLst>
          </p:cNvPr>
          <p:cNvSpPr txBox="1"/>
          <p:nvPr/>
        </p:nvSpPr>
        <p:spPr>
          <a:xfrm>
            <a:off x="7398676" y="277065"/>
            <a:ext cx="1432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خاص بالأستاذ</a:t>
            </a:r>
            <a:endParaRPr kumimoji="0" lang="fr-MA" sz="18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FE6E00ED-77EF-042D-112C-4D9B506448CE}"/>
              </a:ext>
            </a:extLst>
          </p:cNvPr>
          <p:cNvGrpSpPr/>
          <p:nvPr/>
        </p:nvGrpSpPr>
        <p:grpSpPr>
          <a:xfrm>
            <a:off x="431540" y="1609115"/>
            <a:ext cx="8280919" cy="754100"/>
            <a:chOff x="431540" y="1609115"/>
            <a:chExt cx="8280919" cy="754100"/>
          </a:xfrm>
        </p:grpSpPr>
        <p:sp>
          <p:nvSpPr>
            <p:cNvPr id="45" name="Rectangle : coins arrondis 44">
              <a:extLst>
                <a:ext uri="{FF2B5EF4-FFF2-40B4-BE49-F238E27FC236}">
                  <a16:creationId xmlns:a16="http://schemas.microsoft.com/office/drawing/2014/main" id="{5A3D4305-FB29-7796-6B8C-33685E968CAF}"/>
                </a:ext>
              </a:extLst>
            </p:cNvPr>
            <p:cNvSpPr/>
            <p:nvPr/>
          </p:nvSpPr>
          <p:spPr>
            <a:xfrm>
              <a:off x="431540" y="1609115"/>
              <a:ext cx="6729087" cy="754100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800" b="1" kern="0" dirty="0">
                  <a:solidFill>
                    <a:srgbClr val="106585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عد وتعداد عناصر مجموعة من 1 إلى 5</a:t>
              </a:r>
              <a:endParaRPr kumimoji="0" lang="ar-MA" sz="2800" b="1" i="0" u="none" strike="noStrike" kern="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Rectangle : coins arrondis 43">
              <a:extLst>
                <a:ext uri="{FF2B5EF4-FFF2-40B4-BE49-F238E27FC236}">
                  <a16:creationId xmlns:a16="http://schemas.microsoft.com/office/drawing/2014/main" id="{2BE61A74-F657-A74B-9E0C-C38627C06DC1}"/>
                </a:ext>
              </a:extLst>
            </p:cNvPr>
            <p:cNvSpPr/>
            <p:nvPr/>
          </p:nvSpPr>
          <p:spPr>
            <a:xfrm>
              <a:off x="7279652" y="1609115"/>
              <a:ext cx="1432807" cy="735122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1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9" name="ZoneTexte 68">
            <a:extLst>
              <a:ext uri="{FF2B5EF4-FFF2-40B4-BE49-F238E27FC236}">
                <a16:creationId xmlns:a16="http://schemas.microsoft.com/office/drawing/2014/main" id="{FEE33B3F-8E33-4729-2EFB-5D1D31930B24}"/>
              </a:ext>
            </a:extLst>
          </p:cNvPr>
          <p:cNvSpPr txBox="1"/>
          <p:nvPr/>
        </p:nvSpPr>
        <p:spPr>
          <a:xfrm rot="16200000">
            <a:off x="7699312" y="4426768"/>
            <a:ext cx="12975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الاستراتيجيات</a:t>
            </a: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005BB650-C35C-07B8-6BB6-71E49C4EA744}"/>
              </a:ext>
            </a:extLst>
          </p:cNvPr>
          <p:cNvSpPr txBox="1"/>
          <p:nvPr/>
        </p:nvSpPr>
        <p:spPr>
          <a:xfrm>
            <a:off x="2025402" y="451955"/>
            <a:ext cx="4809259" cy="3173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0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290AD0A4-56E0-7356-FBC2-AD3FE8679EBF}"/>
              </a:ext>
            </a:extLst>
          </p:cNvPr>
          <p:cNvGrpSpPr/>
          <p:nvPr/>
        </p:nvGrpSpPr>
        <p:grpSpPr>
          <a:xfrm>
            <a:off x="431541" y="2505774"/>
            <a:ext cx="8280918" cy="864000"/>
            <a:chOff x="431541" y="2505774"/>
            <a:chExt cx="8280918" cy="864000"/>
          </a:xfrm>
        </p:grpSpPr>
        <p:sp>
          <p:nvSpPr>
            <p:cNvPr id="26" name="Rectangle : coins arrondis 25">
              <a:extLst>
                <a:ext uri="{FF2B5EF4-FFF2-40B4-BE49-F238E27FC236}">
                  <a16:creationId xmlns:a16="http://schemas.microsoft.com/office/drawing/2014/main" id="{C4791D1A-237F-DFDF-87F2-967A8A1A944B}"/>
                </a:ext>
              </a:extLst>
            </p:cNvPr>
            <p:cNvSpPr/>
            <p:nvPr/>
          </p:nvSpPr>
          <p:spPr>
            <a:xfrm>
              <a:off x="431541" y="2505774"/>
              <a:ext cx="6729086" cy="864000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10658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قراءة وكتابة الأعداد من 1 إلى 5</a:t>
              </a:r>
            </a:p>
          </p:txBody>
        </p:sp>
        <p:sp>
          <p:nvSpPr>
            <p:cNvPr id="27" name="Rectangle : coins arrondis 26">
              <a:extLst>
                <a:ext uri="{FF2B5EF4-FFF2-40B4-BE49-F238E27FC236}">
                  <a16:creationId xmlns:a16="http://schemas.microsoft.com/office/drawing/2014/main" id="{7514BC20-DCAA-097A-963C-3C62B1138CEB}"/>
                </a:ext>
              </a:extLst>
            </p:cNvPr>
            <p:cNvSpPr/>
            <p:nvPr/>
          </p:nvSpPr>
          <p:spPr>
            <a:xfrm>
              <a:off x="7279652" y="2505774"/>
              <a:ext cx="1432807" cy="864000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2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4FA67F3C-BBB9-9D52-BDE4-E8F5EEFEBCE2}"/>
              </a:ext>
            </a:extLst>
          </p:cNvPr>
          <p:cNvGrpSpPr/>
          <p:nvPr/>
        </p:nvGrpSpPr>
        <p:grpSpPr>
          <a:xfrm>
            <a:off x="431541" y="3512333"/>
            <a:ext cx="8257473" cy="759828"/>
            <a:chOff x="431541" y="3512333"/>
            <a:chExt cx="8257473" cy="759828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9664CAF-E9EA-FF81-C096-F576958011E5}"/>
                </a:ext>
              </a:extLst>
            </p:cNvPr>
            <p:cNvSpPr/>
            <p:nvPr/>
          </p:nvSpPr>
          <p:spPr>
            <a:xfrm>
              <a:off x="431541" y="3512333"/>
              <a:ext cx="6729086" cy="759828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10658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تفكيك العددين 2 و3</a:t>
              </a:r>
            </a:p>
          </p:txBody>
        </p:sp>
        <p:sp>
          <p:nvSpPr>
            <p:cNvPr id="30" name="Rectangle : coins arrondis 29">
              <a:extLst>
                <a:ext uri="{FF2B5EF4-FFF2-40B4-BE49-F238E27FC236}">
                  <a16:creationId xmlns:a16="http://schemas.microsoft.com/office/drawing/2014/main" id="{9B55B03F-0996-CDCC-E5DF-A6437BA3223D}"/>
                </a:ext>
              </a:extLst>
            </p:cNvPr>
            <p:cNvSpPr/>
            <p:nvPr/>
          </p:nvSpPr>
          <p:spPr>
            <a:xfrm>
              <a:off x="7279652" y="3512333"/>
              <a:ext cx="1409362" cy="740706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3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27A861E-B72C-A2FC-59D4-349FA281790B}"/>
              </a:ext>
            </a:extLst>
          </p:cNvPr>
          <p:cNvGrpSpPr/>
          <p:nvPr/>
        </p:nvGrpSpPr>
        <p:grpSpPr>
          <a:xfrm>
            <a:off x="431539" y="4414720"/>
            <a:ext cx="8280919" cy="779876"/>
            <a:chOff x="431539" y="4414720"/>
            <a:chExt cx="8280919" cy="779876"/>
          </a:xfrm>
        </p:grpSpPr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A9DABFE0-70C8-684C-B5AF-C1D7B97901FC}"/>
                </a:ext>
              </a:extLst>
            </p:cNvPr>
            <p:cNvSpPr/>
            <p:nvPr/>
          </p:nvSpPr>
          <p:spPr>
            <a:xfrm>
              <a:off x="431539" y="4414720"/>
              <a:ext cx="6729087" cy="764236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10658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تفكيك العددين 4 و5</a:t>
              </a:r>
            </a:p>
          </p:txBody>
        </p:sp>
        <p:sp>
          <p:nvSpPr>
            <p:cNvPr id="33" name="Rectangle : coins arrondis 32">
              <a:extLst>
                <a:ext uri="{FF2B5EF4-FFF2-40B4-BE49-F238E27FC236}">
                  <a16:creationId xmlns:a16="http://schemas.microsoft.com/office/drawing/2014/main" id="{78F93B5D-E5A1-C1F3-EA0E-CE08E76CD02C}"/>
                </a:ext>
              </a:extLst>
            </p:cNvPr>
            <p:cNvSpPr/>
            <p:nvPr/>
          </p:nvSpPr>
          <p:spPr>
            <a:xfrm>
              <a:off x="7279651" y="4414720"/>
              <a:ext cx="1432807" cy="779876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4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83B9A300-CA53-64F3-F908-C262E606C7CC}"/>
              </a:ext>
            </a:extLst>
          </p:cNvPr>
          <p:cNvSpPr/>
          <p:nvPr/>
        </p:nvSpPr>
        <p:spPr>
          <a:xfrm>
            <a:off x="431540" y="5337155"/>
            <a:ext cx="8280918" cy="779876"/>
          </a:xfrm>
          <a:prstGeom prst="roundRect">
            <a:avLst>
              <a:gd name="adj" fmla="val 15212"/>
            </a:avLst>
          </a:prstGeom>
          <a:solidFill>
            <a:srgbClr val="0097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مراجعة دروس الأسبوع الأول </a:t>
            </a:r>
            <a:endParaRPr kumimoji="0" lang="fr-MA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19107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18F5A7C-298B-293C-12A7-124953C910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D95B4592-FB21-A16A-C14F-49A85D1CA67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4C9E906E-1B71-4131-369D-022908F11D82}"/>
              </a:ext>
            </a:extLst>
          </p:cNvPr>
          <p:cNvSpPr txBox="1"/>
          <p:nvPr/>
        </p:nvSpPr>
        <p:spPr>
          <a:xfrm>
            <a:off x="853779" y="450596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هناك تفكيك آخر للعدد 3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احظوا. لدينا نفس عدد </a:t>
            </a:r>
            <a:r>
              <a:rPr lang="ar-MA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تفاحات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... 3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5741D6E-0920-FCCE-E230-94ED3CFB945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036A611B-C127-975E-3436-EDC69FE641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9587C57-F408-C34C-1BA8-379496B96D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08F551CC-888C-551B-CA16-F0CA5C7C22E1}"/>
              </a:ext>
            </a:extLst>
          </p:cNvPr>
          <p:cNvSpPr txBox="1"/>
          <p:nvPr/>
        </p:nvSpPr>
        <p:spPr>
          <a:xfrm>
            <a:off x="4321389" y="3131920"/>
            <a:ext cx="65274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/>
              <a:t>3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3C1A015-F31F-331C-D015-4EAE9FE433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61698" y="1725963"/>
            <a:ext cx="981917" cy="1126973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C91422F2-598F-EF24-D122-5C8AFA6246B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03848" y="1725962"/>
            <a:ext cx="981917" cy="1126973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7A4BC31-A00F-3950-15E0-5C8510C6C3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9781" y="1680124"/>
            <a:ext cx="981917" cy="1126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57383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F5AA6EC-E0B9-4B3E-F6BD-6C1223B0E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127E209D-C26E-B109-9F34-A75E7B1AFA8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D042E291-123E-6B69-FAA9-3CC5D3C3491A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كن هذه المرة، لدينا تفاحة واحدة حمراء. أكتب 1 في الدائرة الحمراء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A779513-B990-59B0-8C95-ADFC16E0E03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498251-814B-81B9-91CD-775AF4076D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72648E5-ECCB-64A1-9C41-5A656CD705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11F9650C-809E-9D1F-236B-023BD91B64EA}"/>
              </a:ext>
            </a:extLst>
          </p:cNvPr>
          <p:cNvSpPr txBox="1"/>
          <p:nvPr/>
        </p:nvSpPr>
        <p:spPr>
          <a:xfrm>
            <a:off x="4321389" y="3131920"/>
            <a:ext cx="65274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/>
              <a:t>3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E8945787-C57B-0F03-78C9-CE5DB1A4EB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61698" y="1725963"/>
            <a:ext cx="981917" cy="1126973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3618A3E-D53F-050F-A50D-BDD9888CF3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03848" y="1725962"/>
            <a:ext cx="981917" cy="1126973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48EB6EB-D87E-8148-1BDF-8A42FEF94B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9781" y="1680124"/>
            <a:ext cx="981917" cy="1126973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0A596353-10D7-401B-7D0D-6EE8F7D926D6}"/>
              </a:ext>
            </a:extLst>
          </p:cNvPr>
          <p:cNvSpPr txBox="1"/>
          <p:nvPr/>
        </p:nvSpPr>
        <p:spPr>
          <a:xfrm>
            <a:off x="3424106" y="452391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16162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D38D0B9-F38A-6126-D2DD-87C0FEB53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09976021-1AE3-8566-871F-FED05FDDA56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32D0964C-B9B6-54A4-34E5-301474534CE0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وتفاحتان خضراوان. أكتب 2 في الدائرة الزرقاء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187078E3-3496-EA40-02FE-75855AE18E8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46181E5-A002-5885-A88E-43DE1AB107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875902F2-093A-16D1-8005-B74D0841DC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2800B32D-F116-98E8-E746-A504C16E4863}"/>
              </a:ext>
            </a:extLst>
          </p:cNvPr>
          <p:cNvSpPr txBox="1"/>
          <p:nvPr/>
        </p:nvSpPr>
        <p:spPr>
          <a:xfrm>
            <a:off x="4321389" y="3131920"/>
            <a:ext cx="65274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/>
              <a:t>3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DF3F9CA2-096F-704D-7AA7-22081CE48A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61698" y="1725963"/>
            <a:ext cx="981917" cy="1126973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7D8A4700-11F0-BF9E-2F9C-2F2FA3221E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03848" y="1725962"/>
            <a:ext cx="981917" cy="1126973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C761DF2-FB2A-F255-09FE-9E58A7C3F5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9781" y="1680124"/>
            <a:ext cx="981917" cy="1126973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FC3B4D51-247F-54CC-A31D-DEEE5DD3BC06}"/>
              </a:ext>
            </a:extLst>
          </p:cNvPr>
          <p:cNvSpPr txBox="1"/>
          <p:nvPr/>
        </p:nvSpPr>
        <p:spPr>
          <a:xfrm>
            <a:off x="5158288" y="4489102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355D834-5CB8-9CD0-BBA8-5BDE85095632}"/>
              </a:ext>
            </a:extLst>
          </p:cNvPr>
          <p:cNvSpPr txBox="1"/>
          <p:nvPr/>
        </p:nvSpPr>
        <p:spPr>
          <a:xfrm>
            <a:off x="3424106" y="452391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31708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80A6291-2AB7-DB1B-4121-9DE96259EB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34469605-8F91-6351-036B-4356F753E26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69D6B485-B6C4-B419-39E6-6B6E7A902317}"/>
              </a:ext>
            </a:extLst>
          </p:cNvPr>
          <p:cNvSpPr txBox="1"/>
          <p:nvPr/>
        </p:nvSpPr>
        <p:spPr>
          <a:xfrm>
            <a:off x="866880" y="457281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قمت بتفكيك آخر للعدد 3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3 هو أيضا 1 و2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71E9422-66BE-F19E-39D2-C18220EC73F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84DAAA67-2649-968E-41C0-553EFD2661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48FF3211-4D43-8FAF-2D68-3AA6F7A83C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3A4E230C-3343-4451-2C10-E95A0CB1F725}"/>
              </a:ext>
            </a:extLst>
          </p:cNvPr>
          <p:cNvSpPr txBox="1"/>
          <p:nvPr/>
        </p:nvSpPr>
        <p:spPr>
          <a:xfrm>
            <a:off x="4321389" y="3131920"/>
            <a:ext cx="65274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/>
              <a:t>3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DE81FD01-B80F-18DF-C450-803D144122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61698" y="1725963"/>
            <a:ext cx="981917" cy="1126973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F02224B-3F67-5DE6-2FCA-3A9DA23A277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03848" y="1725962"/>
            <a:ext cx="981917" cy="1126973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438DD928-B468-A43F-7DDB-38AAF88538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9781" y="1680124"/>
            <a:ext cx="981917" cy="1126973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72CCFA37-060C-FBC9-2ADB-2C006E8FCC38}"/>
              </a:ext>
            </a:extLst>
          </p:cNvPr>
          <p:cNvSpPr txBox="1"/>
          <p:nvPr/>
        </p:nvSpPr>
        <p:spPr>
          <a:xfrm>
            <a:off x="5158288" y="4489102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78F4004-4BB0-3E84-CD5F-3EB19BE80FFE}"/>
              </a:ext>
            </a:extLst>
          </p:cNvPr>
          <p:cNvSpPr txBox="1"/>
          <p:nvPr/>
        </p:nvSpPr>
        <p:spPr>
          <a:xfrm>
            <a:off x="3424106" y="452391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4325045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EA6E6BE-6020-075D-3D30-AEE37E34F3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B04D945E-3A0E-FE81-0372-1D48A85F06B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8A9F3F5-AE20-31AB-097D-B2397ADEEF57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آن سنشتغل على الكراسات. خذوا الصفحة 12.</a:t>
            </a:r>
            <a:r>
              <a:rPr lang="fr-FR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النشاط رقم 2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A2A9608-8066-E025-1986-CECBEC21CC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363A7AC-28A7-DD2D-27EF-7CDCBD11E5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311" y="2166599"/>
            <a:ext cx="8401377" cy="3469074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3576A897-8713-E18E-6052-488ABF2ABD76}"/>
              </a:ext>
            </a:extLst>
          </p:cNvPr>
          <p:cNvSpPr/>
          <p:nvPr/>
        </p:nvSpPr>
        <p:spPr>
          <a:xfrm>
            <a:off x="179512" y="1988841"/>
            <a:ext cx="8687761" cy="382459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730009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14343EE-4F93-51FB-7A69-89EE8B3384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2F6C1047-59AD-3B82-3168-1CF144F014E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3BB5D9F5-3802-0634-FB8B-CF69D7EFD182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احظوا </a:t>
            </a:r>
            <a:r>
              <a:rPr lang="ar-MA" b="1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تفاحات</a:t>
            </a: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وأكملوا تفكيك العدد 3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D3C1AC6-0DDA-076D-5DD7-62051CFB0B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11CA1F8-6F9F-EF3F-6A23-D2F1BFFEDB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311" y="2166599"/>
            <a:ext cx="8401377" cy="3469074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36290ED1-5F21-BB78-CFF9-D6BD548E3645}"/>
              </a:ext>
            </a:extLst>
          </p:cNvPr>
          <p:cNvSpPr/>
          <p:nvPr/>
        </p:nvSpPr>
        <p:spPr>
          <a:xfrm>
            <a:off x="3320716" y="2734478"/>
            <a:ext cx="2598821" cy="2607544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lèche : bas 2">
            <a:extLst>
              <a:ext uri="{FF2B5EF4-FFF2-40B4-BE49-F238E27FC236}">
                <a16:creationId xmlns:a16="http://schemas.microsoft.com/office/drawing/2014/main" id="{F6B95496-A4C8-62B2-5254-54544781C774}"/>
              </a:ext>
            </a:extLst>
          </p:cNvPr>
          <p:cNvSpPr/>
          <p:nvPr/>
        </p:nvSpPr>
        <p:spPr>
          <a:xfrm>
            <a:off x="4441101" y="2212467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04234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AD3BE5E-5167-33AF-20B9-E919BD8E6B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86A20E58-B220-B0BD-7537-4EF956177DD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720AA23C-3819-E7E5-7C12-FCF922374B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1720" y="2204864"/>
            <a:ext cx="4320480" cy="3022400"/>
          </a:xfrm>
          <a:prstGeom prst="rect">
            <a:avLst/>
          </a:prstGeom>
          <a:effectLst/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FA59AC8D-C81C-8F8F-E22B-F9BEAF46570F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كل واحد منكم يشرح لزميله كيف قام بذلك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2596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B128FD7-57AB-C8CD-9F79-B4CA39D5BA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441949E-FF2D-A599-0772-B5690224AFB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6D3411F9-8F09-37F3-169C-BAA32ABD7AAE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قلوا النتيجة على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672205F-D704-4313-08FD-A269D29DE6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911" y="2169000"/>
            <a:ext cx="3924179" cy="2520000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FD17194B-ECBB-2EC7-10D7-F3423855313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173085904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C3583B8-573D-BDDC-132D-B82E8DEF8E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376D42B-ED1A-5D89-FA60-5A64371F5CC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E77AE1EA-A0C9-A09D-F111-5241AD38F842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3EC3A36D-1A53-EC33-A7D0-1B9ADA40347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3C41C71-5E93-61A3-8237-7D04760AEC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3696" y="2169000"/>
            <a:ext cx="3768019" cy="270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12585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EEABA9C-BC8B-E5FB-4129-9F37B8C8D4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E22D9AA-7B53-C327-0C0C-C47EB5707E1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8830412E-AEF6-1F0D-67B7-9B2FA3133E4B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D49DEA2-86A6-53CB-5A9E-7D1FA075ED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48D78E0-4C8E-7848-6C72-9905451AF3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7892" y="2166599"/>
            <a:ext cx="8328215" cy="3469074"/>
          </a:xfrm>
          <a:prstGeom prst="rect">
            <a:avLst/>
          </a:prstGeom>
        </p:spPr>
      </p:pic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7FCF6EE9-2CED-9A48-05EB-4180A93DDD13}"/>
              </a:ext>
            </a:extLst>
          </p:cNvPr>
          <p:cNvSpPr/>
          <p:nvPr/>
        </p:nvSpPr>
        <p:spPr>
          <a:xfrm>
            <a:off x="3320716" y="2734478"/>
            <a:ext cx="2598821" cy="2607544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F78B546-26CA-4B06-94FC-DAD9BB0B69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726" y="4533545"/>
            <a:ext cx="299602" cy="309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686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Ellipse 62">
            <a:extLst>
              <a:ext uri="{FF2B5EF4-FFF2-40B4-BE49-F238E27FC236}">
                <a16:creationId xmlns:a16="http://schemas.microsoft.com/office/drawing/2014/main" id="{2C006488-52ED-147E-51E9-AE6057E4CCF8}"/>
              </a:ext>
            </a:extLst>
          </p:cNvPr>
          <p:cNvSpPr/>
          <p:nvPr/>
        </p:nvSpPr>
        <p:spPr>
          <a:xfrm>
            <a:off x="1322451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/>
          <p:cNvSpPr txBox="1"/>
          <p:nvPr/>
        </p:nvSpPr>
        <p:spPr>
          <a:xfrm>
            <a:off x="1005884" y="1556792"/>
            <a:ext cx="7132233" cy="7053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5486"/>
              </a:lnSpc>
              <a:defRPr/>
            </a:pPr>
            <a:r>
              <a:rPr lang="ar-MA" sz="48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درس اليوم</a:t>
            </a: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5D5EC3F9-B576-AAD3-32E6-690B5DFDA61D}"/>
              </a:ext>
            </a:extLst>
          </p:cNvPr>
          <p:cNvSpPr txBox="1"/>
          <p:nvPr/>
        </p:nvSpPr>
        <p:spPr>
          <a:xfrm>
            <a:off x="179513" y="2996952"/>
            <a:ext cx="8784975" cy="662361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ar-MA" sz="3200" b="1" dirty="0">
                <a:solidFill>
                  <a:srgbClr val="3795A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تفكيك العددين 2 و3.</a:t>
            </a:r>
          </a:p>
        </p:txBody>
      </p:sp>
    </p:spTree>
    <p:extLst>
      <p:ext uri="{BB962C8B-B14F-4D97-AF65-F5344CB8AC3E}">
        <p14:creationId xmlns:p14="http://schemas.microsoft.com/office/powerpoint/2010/main" val="34563654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44D6C5D-3F8D-10E6-3138-E3B1E1FC5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C078C59C-95E0-BBF4-FF86-7EAFBBA8B69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57484EE8-EC27-B738-6C8C-97E52BA593EA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احظوا </a:t>
            </a:r>
            <a:r>
              <a:rPr lang="ar-MA" b="1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تفاحات</a:t>
            </a: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وقوموا بتفكيك العدد 3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91DB4E3-97B9-2A5E-F549-40CD6E85E2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5ED673AA-4B37-7DE2-5865-1CA53210B1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7892" y="2166599"/>
            <a:ext cx="8328215" cy="3469074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D752E6FA-F113-E6DC-D351-134C5A8394CA}"/>
              </a:ext>
            </a:extLst>
          </p:cNvPr>
          <p:cNvSpPr/>
          <p:nvPr/>
        </p:nvSpPr>
        <p:spPr>
          <a:xfrm>
            <a:off x="5991727" y="2688611"/>
            <a:ext cx="2598821" cy="2607544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lèche : bas 2">
            <a:extLst>
              <a:ext uri="{FF2B5EF4-FFF2-40B4-BE49-F238E27FC236}">
                <a16:creationId xmlns:a16="http://schemas.microsoft.com/office/drawing/2014/main" id="{52A3F609-7F80-DC0F-4908-6508F609F99D}"/>
              </a:ext>
            </a:extLst>
          </p:cNvPr>
          <p:cNvSpPr/>
          <p:nvPr/>
        </p:nvSpPr>
        <p:spPr>
          <a:xfrm>
            <a:off x="7029341" y="2111021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41FAE49-13DE-09BA-3FDA-FDB47F98C0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48726" y="4533545"/>
            <a:ext cx="299602" cy="309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1063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E5C717-03F1-0959-1099-14720FE5F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CAE5B52-A85A-A193-C44D-3AE4634ED9B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2DAD791C-AD76-E197-9EBA-3944AAFA5A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1720" y="2204864"/>
            <a:ext cx="4320480" cy="3022400"/>
          </a:xfrm>
          <a:prstGeom prst="rect">
            <a:avLst/>
          </a:prstGeom>
          <a:effectLst/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576D3CC5-5A14-BA68-6858-7E2A75976FB9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كل واحد منكم يشرح لزميله كيف قام بذلك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9700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14784C0-251B-3599-BFCB-5181BB2038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4AE38C13-C212-90B5-DC90-EDCC0E461D1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CC6BCF59-0691-7058-6D38-C30E80F893E3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قلوا النتيجة على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CD70B46-D33F-D500-2D16-39A01B76C0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911" y="2169000"/>
            <a:ext cx="3924179" cy="2520000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8AC17A63-2139-C822-ECE4-853B40E1B8D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396810603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CD5A230-31CE-580F-422E-469D3E64E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537A78C-533C-73D3-8A42-9FEEE1F3986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38AB8112-9A33-1A84-ED12-03F8787867A8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3755DE75-233E-3020-8EF9-8AF7DA8ECD4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20AEEBFB-BDFA-1A28-8A4D-4127D177A0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3696" y="2169000"/>
            <a:ext cx="3768019" cy="270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5159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CF06A1-B166-7E2B-8D76-AD7CEFFB09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69C94A87-B26A-93B3-18C3-7124B36761A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B18B6C67-EF28-D8EC-8898-653EAC52EB90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E5F58C4-CD7B-219D-7449-F7C932D01F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C4D8B19-A813-DC47-E8BB-59925E8060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7892" y="2166599"/>
            <a:ext cx="8328215" cy="3469074"/>
          </a:xfrm>
          <a:prstGeom prst="rect">
            <a:avLst/>
          </a:prstGeom>
        </p:spPr>
      </p:pic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4F4A9412-563F-0E4A-6862-EDE44B3FC992}"/>
              </a:ext>
            </a:extLst>
          </p:cNvPr>
          <p:cNvSpPr/>
          <p:nvPr/>
        </p:nvSpPr>
        <p:spPr>
          <a:xfrm>
            <a:off x="5976271" y="2734478"/>
            <a:ext cx="2598821" cy="2607544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E23C353F-4340-F673-4DA3-419C592EDA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24662" y="4521514"/>
            <a:ext cx="323665" cy="334826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FB640F8B-C717-CB36-04B6-3C89C2CFCA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0284" y="4557609"/>
            <a:ext cx="276264" cy="28579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BAE144B-35D3-4091-1ABF-72318A1781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35920" y="4566339"/>
            <a:ext cx="161948" cy="295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826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75046-D327-CBCA-5FD2-A7FA559A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F7C0A4B-B1F0-ABD8-D604-EA7FE6BF6440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D7083EFA-4931-086B-4677-E559A61DC1E2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F7B80CEE-EF85-F60C-1AD2-8ACD885F40CD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أنشطة تمهيدية 3/3 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BF2ECF8D-27F6-F5DD-06AA-B8EF9492112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58F755C-F06E-B25D-B5A7-240CFF8CEA67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62EDB2A-6233-5C90-30CD-C686608A86D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23928" y="3717032"/>
            <a:ext cx="1472378" cy="218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42344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2EEA710-7E3C-382C-774D-0008505E4A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DD346419-1063-CE9B-6791-EC23AC563CB3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EF66B6B0-CCAB-0514-A03D-26E48FE2740E}"/>
              </a:ext>
            </a:extLst>
          </p:cNvPr>
          <p:cNvSpPr txBox="1"/>
          <p:nvPr/>
        </p:nvSpPr>
        <p:spPr>
          <a:xfrm>
            <a:off x="890583" y="550366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سأقوم بالجزء الأول من النشاط 3 ... سأعد الأقراص وأفكك العدد 3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340B475-5534-AFF2-BB3B-64F962A3474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50366"/>
            <a:ext cx="1116120" cy="1113235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CA116C9-2E29-2537-FEC4-80BA5D1102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7" y="2016730"/>
            <a:ext cx="8353494" cy="3530964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5063B56D-B148-75EE-78E4-DC84FA9715BF}"/>
              </a:ext>
            </a:extLst>
          </p:cNvPr>
          <p:cNvSpPr/>
          <p:nvPr/>
        </p:nvSpPr>
        <p:spPr>
          <a:xfrm>
            <a:off x="683382" y="2664218"/>
            <a:ext cx="2643994" cy="263427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lèche : bas 9">
            <a:extLst>
              <a:ext uri="{FF2B5EF4-FFF2-40B4-BE49-F238E27FC236}">
                <a16:creationId xmlns:a16="http://schemas.microsoft.com/office/drawing/2014/main" id="{8E6E2A29-55C4-93ED-ED2C-2D1E65E2B036}"/>
              </a:ext>
            </a:extLst>
          </p:cNvPr>
          <p:cNvSpPr/>
          <p:nvPr/>
        </p:nvSpPr>
        <p:spPr>
          <a:xfrm>
            <a:off x="1874481" y="2102402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361818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A02FE15-6C0B-7F5B-24B0-BA728204FA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7F8AA381-B8AF-C13B-799B-4757DB68A00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51DEBADA-184F-6CDA-BC8F-C8E8491E453A}"/>
              </a:ext>
            </a:extLst>
          </p:cNvPr>
          <p:cNvSpPr txBox="1"/>
          <p:nvPr/>
        </p:nvSpPr>
        <p:spPr>
          <a:xfrm>
            <a:off x="890583" y="550366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دينا قرصان أحمران. أكتب 2 في الدائرة الحمراء.</a:t>
            </a:r>
            <a:endParaRPr lang="ar-MA" sz="1800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05D0A78-CF51-2679-B7CE-E79D24DA970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50366"/>
            <a:ext cx="1116120" cy="1113235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95E9A98D-BDCF-37DD-E0FC-B70788A2ED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6" y="2016730"/>
            <a:ext cx="8323997" cy="3530964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B1D552EF-594D-EE7E-01DE-EF20E4F9F975}"/>
              </a:ext>
            </a:extLst>
          </p:cNvPr>
          <p:cNvSpPr/>
          <p:nvPr/>
        </p:nvSpPr>
        <p:spPr>
          <a:xfrm>
            <a:off x="683382" y="2664218"/>
            <a:ext cx="2643994" cy="263427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BBE92EB-B40E-CE47-8680-1CE6ADE33420}"/>
              </a:ext>
            </a:extLst>
          </p:cNvPr>
          <p:cNvSpPr/>
          <p:nvPr/>
        </p:nvSpPr>
        <p:spPr>
          <a:xfrm>
            <a:off x="1136226" y="2924944"/>
            <a:ext cx="1131518" cy="504056"/>
          </a:xfrm>
          <a:prstGeom prst="ellips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14B3E2E-3D59-FC78-8BF0-3F5A0CF837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3923" y="4393316"/>
            <a:ext cx="276225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611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8AE5FCB-2626-AC91-077A-A6F20CC7D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D2E2DAD3-9764-BE2B-EA40-42D4FCA99F3C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9DCEEFBD-A816-1BFA-DDC0-D8DA392DE3C5}"/>
              </a:ext>
            </a:extLst>
          </p:cNvPr>
          <p:cNvSpPr txBox="1"/>
          <p:nvPr/>
        </p:nvSpPr>
        <p:spPr>
          <a:xfrm>
            <a:off x="890583" y="514270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وقرص واحد أزرق. أكتب العدد 1 في الدائرة الزرقاء.</a:t>
            </a:r>
          </a:p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3 هو 2 و1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085010B-664E-D595-C091-4582AE3A598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50366"/>
            <a:ext cx="1116120" cy="1113235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66B8F2B1-7265-7050-BE3C-F03F37F69B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6" y="2016730"/>
            <a:ext cx="8333829" cy="3530964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65695DB5-8940-F60B-D117-D426253391AB}"/>
              </a:ext>
            </a:extLst>
          </p:cNvPr>
          <p:cNvSpPr/>
          <p:nvPr/>
        </p:nvSpPr>
        <p:spPr>
          <a:xfrm>
            <a:off x="683382" y="2664218"/>
            <a:ext cx="2643994" cy="263427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18A32118-BE5F-E898-480D-4BB021565D5A}"/>
              </a:ext>
            </a:extLst>
          </p:cNvPr>
          <p:cNvSpPr/>
          <p:nvPr/>
        </p:nvSpPr>
        <p:spPr>
          <a:xfrm>
            <a:off x="2121095" y="2924944"/>
            <a:ext cx="507596" cy="504056"/>
          </a:xfrm>
          <a:prstGeom prst="ellips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182E484-6E1B-C109-8182-632D071986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3923" y="4393316"/>
            <a:ext cx="276225" cy="28575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C8AC0851-B3A1-7730-4F09-B3CC828252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67744" y="4411572"/>
            <a:ext cx="161925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00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BCBBA6-9C83-8395-E380-920E5C77B5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11CA4EDB-B361-4C40-1BCC-F4F3E7B70CB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DCF3EA99-1149-E86E-DC3D-86D323964DD2}"/>
              </a:ext>
            </a:extLst>
          </p:cNvPr>
          <p:cNvSpPr txBox="1"/>
          <p:nvPr/>
        </p:nvSpPr>
        <p:spPr>
          <a:xfrm>
            <a:off x="803416" y="539311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ذوا الكراسات لإنجاز النشاط 3 في الصفحة 12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4BD9D02-4AF1-CD2C-3923-F6CAE52E4E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8" y="2016730"/>
            <a:ext cx="8323996" cy="3530964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3AF67FE6-C28B-61C7-1D66-0B7B4205ACBE}"/>
              </a:ext>
            </a:extLst>
          </p:cNvPr>
          <p:cNvSpPr/>
          <p:nvPr/>
        </p:nvSpPr>
        <p:spPr>
          <a:xfrm>
            <a:off x="349664" y="2016731"/>
            <a:ext cx="8397118" cy="3662174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FD05663-FDA2-D37B-9D02-F4A8BF94D7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3923" y="4393316"/>
            <a:ext cx="276225" cy="28575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A26B4A13-974E-3088-6EFB-6CD189B791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7744" y="4411572"/>
            <a:ext cx="161925" cy="295275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222EAF6A-299A-A525-D74E-737D3FDDC8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745176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 t="-5555" b="-5555"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394223" y="767701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/>
              <a:endParaRPr lang="fr-MA"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</a:pPr>
              <a:endParaRPr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365553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MA" sz="1600" i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اص بالأستاذ</a:t>
            </a:r>
            <a:endParaRPr lang="fr-MA" sz="1600" i="1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3E8F-A2D4-86F5-970B-0187137D8890}"/>
              </a:ext>
            </a:extLst>
          </p:cNvPr>
          <p:cNvSpPr txBox="1"/>
          <p:nvPr/>
        </p:nvSpPr>
        <p:spPr>
          <a:xfrm>
            <a:off x="1489665" y="1365589"/>
            <a:ext cx="6164669" cy="4072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334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راحل الحصة</a:t>
            </a:r>
          </a:p>
        </p:txBody>
      </p:sp>
      <p:sp>
        <p:nvSpPr>
          <p:cNvPr id="55" name="Flowchart: Alternate Process 54">
            <a:extLst>
              <a:ext uri="{FF2B5EF4-FFF2-40B4-BE49-F238E27FC236}">
                <a16:creationId xmlns:a16="http://schemas.microsoft.com/office/drawing/2014/main" id="{794675B7-0983-E62A-CE83-0D53902CBAF5}"/>
              </a:ext>
            </a:extLst>
          </p:cNvPr>
          <p:cNvSpPr/>
          <p:nvPr/>
        </p:nvSpPr>
        <p:spPr>
          <a:xfrm>
            <a:off x="942774" y="2044679"/>
            <a:ext cx="6624649" cy="676858"/>
          </a:xfrm>
          <a:prstGeom prst="flowChartAlternateProcess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85834" rtl="1">
              <a:defRPr/>
            </a:pPr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فتتاح </a:t>
            </a:r>
            <a:r>
              <a:rPr lang="en-GB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sz="2400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حصة</a:t>
            </a:r>
            <a:endParaRPr lang="en-US" sz="2000" b="1">
              <a:solidFill>
                <a:srgbClr val="01070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2FBB3B0C-23A8-D891-890D-6C357D009A48}"/>
              </a:ext>
            </a:extLst>
          </p:cNvPr>
          <p:cNvSpPr>
            <a:spLocks noChangeAspect="1"/>
          </p:cNvSpPr>
          <p:nvPr/>
        </p:nvSpPr>
        <p:spPr>
          <a:xfrm>
            <a:off x="7822339" y="2185454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1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496B13D3-E5C7-F1F4-06A9-715BD43ACA53}"/>
              </a:ext>
            </a:extLst>
          </p:cNvPr>
          <p:cNvSpPr>
            <a:spLocks noChangeAspect="1"/>
          </p:cNvSpPr>
          <p:nvPr/>
        </p:nvSpPr>
        <p:spPr>
          <a:xfrm>
            <a:off x="7822339" y="2980002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2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CB1128EE-BBC6-B3AE-BD21-A80CB5767686}"/>
              </a:ext>
            </a:extLst>
          </p:cNvPr>
          <p:cNvSpPr>
            <a:spLocks noChangeAspect="1"/>
          </p:cNvSpPr>
          <p:nvPr/>
        </p:nvSpPr>
        <p:spPr>
          <a:xfrm>
            <a:off x="7822339" y="3774550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3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88401652-24E5-3103-FE29-B939B4B963C3}"/>
              </a:ext>
            </a:extLst>
          </p:cNvPr>
          <p:cNvSpPr>
            <a:spLocks noChangeAspect="1"/>
          </p:cNvSpPr>
          <p:nvPr/>
        </p:nvSpPr>
        <p:spPr>
          <a:xfrm>
            <a:off x="7822339" y="4569098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4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9F7B7C7-4B93-4E6D-E1B4-4CE13AC7905C}"/>
              </a:ext>
            </a:extLst>
          </p:cNvPr>
          <p:cNvSpPr/>
          <p:nvPr/>
        </p:nvSpPr>
        <p:spPr>
          <a:xfrm>
            <a:off x="942774" y="2968076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نشطة تمهيدية </a:t>
            </a:r>
            <a:endParaRPr lang="en-GB" sz="16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4942DF5-7E1C-77B7-B92E-FF94A01BA5F8}"/>
              </a:ext>
            </a:extLst>
          </p:cNvPr>
          <p:cNvSpPr/>
          <p:nvPr/>
        </p:nvSpPr>
        <p:spPr>
          <a:xfrm>
            <a:off x="942774" y="3753423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نشاط الرئيسي</a:t>
            </a:r>
            <a:endParaRPr lang="en-GB" sz="1600" b="1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F3A5224-A56C-ACDB-21B0-E21C05BDBA2A}"/>
              </a:ext>
            </a:extLst>
          </p:cNvPr>
          <p:cNvSpPr/>
          <p:nvPr/>
        </p:nvSpPr>
        <p:spPr>
          <a:xfrm>
            <a:off x="942774" y="4481108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نشطة التدرب والتعمق : ممارسة مستقلة</a:t>
            </a:r>
            <a:endParaRPr lang="en-GB" sz="16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79275E6-91BD-A54F-27CE-284F2B58AB0A}"/>
              </a:ext>
            </a:extLst>
          </p:cNvPr>
          <p:cNvSpPr/>
          <p:nvPr/>
        </p:nvSpPr>
        <p:spPr>
          <a:xfrm>
            <a:off x="942774" y="5266456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ختتام الحصة</a:t>
            </a:r>
            <a:endParaRPr lang="en-GB" sz="16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580D002-A49D-75B9-6715-FA7D5D442058}"/>
              </a:ext>
            </a:extLst>
          </p:cNvPr>
          <p:cNvSpPr>
            <a:spLocks noChangeAspect="1"/>
          </p:cNvSpPr>
          <p:nvPr/>
        </p:nvSpPr>
        <p:spPr>
          <a:xfrm>
            <a:off x="7822339" y="5363646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MA" sz="2133" b="1"/>
              <a:t>5</a:t>
            </a:r>
            <a:endParaRPr lang="fr-MA" sz="2133" b="1"/>
          </a:p>
        </p:txBody>
      </p:sp>
      <p:pic>
        <p:nvPicPr>
          <p:cNvPr id="16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7A853738-C672-50F8-5AD8-5EB08FA262B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" y="3329716"/>
            <a:ext cx="1260978" cy="1248796"/>
          </a:xfrm>
          <a:prstGeom prst="rect">
            <a:avLst/>
          </a:prstGeom>
        </p:spPr>
      </p:pic>
      <p:graphicFrame>
        <p:nvGraphicFramePr>
          <p:cNvPr id="6" name="think-cell data - do not delete">
            <a:extLst>
              <a:ext uri="{FF2B5EF4-FFF2-40B4-BE49-F238E27FC236}">
                <a16:creationId xmlns:a16="http://schemas.microsoft.com/office/drawing/2014/main" id="{09EE0638-98C0-62FD-E164-56A146DDC7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07661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6" name="think-cell data - do not delete">
                        <a:extLst>
                          <a:ext uri="{FF2B5EF4-FFF2-40B4-BE49-F238E27FC236}">
                            <a16:creationId xmlns:a16="http://schemas.microsoft.com/office/drawing/2014/main" id="{09EE0638-98C0-62FD-E164-56A146DDC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8B756E45-CD39-3D74-08FC-4FE5B27CB00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" y="1596010"/>
            <a:ext cx="1260978" cy="1248796"/>
          </a:xfrm>
          <a:prstGeom prst="rect">
            <a:avLst/>
          </a:prstGeom>
        </p:spPr>
      </p:pic>
      <p:pic>
        <p:nvPicPr>
          <p:cNvPr id="22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39A0D91B-49AA-FE38-8017-6AFDD4FF8DE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9" y="4891800"/>
            <a:ext cx="1260978" cy="124879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FE47017-CF62-AAAB-DF46-0BC241C45D79}"/>
              </a:ext>
            </a:extLst>
          </p:cNvPr>
          <p:cNvSpPr/>
          <p:nvPr/>
        </p:nvSpPr>
        <p:spPr>
          <a:xfrm>
            <a:off x="148418" y="5761882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دقائق</a:t>
            </a:r>
            <a:endParaRPr lang="en-US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1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1757506C-50D7-A64A-6E9F-85C129F32AC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44" y="4069818"/>
            <a:ext cx="1260978" cy="124879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AF662B8-77F3-6D4F-B3AB-8BDC7477F64A}"/>
              </a:ext>
            </a:extLst>
          </p:cNvPr>
          <p:cNvSpPr/>
          <p:nvPr/>
        </p:nvSpPr>
        <p:spPr>
          <a:xfrm>
            <a:off x="137648" y="4199798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 دقائق</a:t>
            </a:r>
            <a:endParaRPr lang="en-US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4FE242-C8D3-94E9-8D6F-95198A53CE5C}"/>
              </a:ext>
            </a:extLst>
          </p:cNvPr>
          <p:cNvSpPr/>
          <p:nvPr/>
        </p:nvSpPr>
        <p:spPr>
          <a:xfrm>
            <a:off x="109393" y="4939900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 دقيقة</a:t>
            </a:r>
            <a:endParaRPr lang="en-US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7A579DC5-FA5C-DEBA-8367-C2D2DA35744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10" y="2466947"/>
            <a:ext cx="1260978" cy="1248796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AE20C5C7-AA8C-7A53-6522-12C00311AAE8}"/>
              </a:ext>
            </a:extLst>
          </p:cNvPr>
          <p:cNvSpPr/>
          <p:nvPr/>
        </p:nvSpPr>
        <p:spPr>
          <a:xfrm>
            <a:off x="129059" y="3337029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 دقيقة</a:t>
            </a:r>
            <a:endParaRPr lang="en-US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512E85-08B4-5DDF-9966-C4BF3F3A17DA}"/>
              </a:ext>
            </a:extLst>
          </p:cNvPr>
          <p:cNvSpPr/>
          <p:nvPr/>
        </p:nvSpPr>
        <p:spPr>
          <a:xfrm>
            <a:off x="137648" y="2466092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دقائق</a:t>
            </a:r>
            <a:endParaRPr lang="en-US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80" name="Groupe 79">
            <a:extLst>
              <a:ext uri="{FF2B5EF4-FFF2-40B4-BE49-F238E27FC236}">
                <a16:creationId xmlns:a16="http://schemas.microsoft.com/office/drawing/2014/main" id="{B36C4C60-897D-AEAB-80B6-8E9B1D6A3142}"/>
              </a:ext>
            </a:extLst>
          </p:cNvPr>
          <p:cNvGrpSpPr/>
          <p:nvPr/>
        </p:nvGrpSpPr>
        <p:grpSpPr>
          <a:xfrm>
            <a:off x="1383775" y="807471"/>
            <a:ext cx="1260977" cy="1173794"/>
            <a:chOff x="1383775" y="807471"/>
            <a:chExt cx="1260977" cy="1173794"/>
          </a:xfrm>
        </p:grpSpPr>
        <p:grpSp>
          <p:nvGrpSpPr>
            <p:cNvPr id="10" name="Groupe 74">
              <a:extLst>
                <a:ext uri="{FF2B5EF4-FFF2-40B4-BE49-F238E27FC236}">
                  <a16:creationId xmlns:a16="http://schemas.microsoft.com/office/drawing/2014/main" id="{A5826FEF-94FB-5337-BD70-BF06D25B073B}"/>
                </a:ext>
              </a:extLst>
            </p:cNvPr>
            <p:cNvGrpSpPr/>
            <p:nvPr/>
          </p:nvGrpSpPr>
          <p:grpSpPr>
            <a:xfrm flipH="1">
              <a:off x="1383775" y="807471"/>
              <a:ext cx="1260977" cy="1173794"/>
              <a:chOff x="104413" y="285342"/>
              <a:chExt cx="2111436" cy="2053595"/>
            </a:xfrm>
          </p:grpSpPr>
          <p:sp>
            <p:nvSpPr>
              <p:cNvPr id="25" name="ZoneTexte 73">
                <a:extLst>
                  <a:ext uri="{FF2B5EF4-FFF2-40B4-BE49-F238E27FC236}">
                    <a16:creationId xmlns:a16="http://schemas.microsoft.com/office/drawing/2014/main" id="{8BE021DE-E166-FDD8-DD8F-A62CA212B7B7}"/>
                  </a:ext>
                </a:extLst>
              </p:cNvPr>
              <p:cNvSpPr txBox="1"/>
              <p:nvPr/>
            </p:nvSpPr>
            <p:spPr>
              <a:xfrm rot="19636752">
                <a:off x="104413" y="536954"/>
                <a:ext cx="2052844" cy="1444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rtl="1"/>
                <a:r>
                  <a:rPr lang="ar-MA" sz="28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 Massir Ballpoint" panose="00000100000000000000" pitchFamily="2" charset="-78"/>
                    <a:cs typeface="Boahmed Alhour" pitchFamily="2" charset="-78"/>
                  </a:rPr>
                  <a:t>المقاعد</a:t>
                </a:r>
              </a:p>
              <a:p>
                <a:pPr algn="ctr" rtl="1"/>
                <a:r>
                  <a:rPr lang="ar-MA" sz="28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 Massir Ballpoint" panose="00000100000000000000" pitchFamily="2" charset="-78"/>
                    <a:cs typeface="Boahmed Alhour" pitchFamily="2" charset="-78"/>
                  </a:rPr>
                  <a:t>محدودة</a:t>
                </a:r>
                <a:endParaRPr lang="ar-MA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 Massir Ballpoint" panose="00000100000000000000" pitchFamily="2" charset="-78"/>
                  <a:cs typeface="Boahmed Alhour" pitchFamily="2" charset="-78"/>
                </a:endParaRPr>
              </a:p>
            </p:txBody>
          </p:sp>
          <p:grpSp>
            <p:nvGrpSpPr>
              <p:cNvPr id="26" name="Graphique 72">
                <a:extLst>
                  <a:ext uri="{FF2B5EF4-FFF2-40B4-BE49-F238E27FC236}">
                    <a16:creationId xmlns:a16="http://schemas.microsoft.com/office/drawing/2014/main" id="{E7A8E939-744B-133E-0263-8D815EE3F436}"/>
                  </a:ext>
                </a:extLst>
              </p:cNvPr>
              <p:cNvGrpSpPr/>
              <p:nvPr/>
            </p:nvGrpSpPr>
            <p:grpSpPr>
              <a:xfrm>
                <a:off x="157532" y="285342"/>
                <a:ext cx="2058317" cy="2053595"/>
                <a:chOff x="157532" y="285342"/>
                <a:chExt cx="2058317" cy="2053595"/>
              </a:xfrm>
            </p:grpSpPr>
            <p:sp>
              <p:nvSpPr>
                <p:cNvPr id="27" name="Forme libre : forme 76">
                  <a:extLst>
                    <a:ext uri="{FF2B5EF4-FFF2-40B4-BE49-F238E27FC236}">
                      <a16:creationId xmlns:a16="http://schemas.microsoft.com/office/drawing/2014/main" id="{2F0F14A7-10D9-D26F-B0AC-E76ED0B020E1}"/>
                    </a:ext>
                  </a:extLst>
                </p:cNvPr>
                <p:cNvSpPr/>
                <p:nvPr/>
              </p:nvSpPr>
              <p:spPr>
                <a:xfrm>
                  <a:off x="157532" y="285342"/>
                  <a:ext cx="2058317" cy="2053595"/>
                </a:xfrm>
                <a:custGeom>
                  <a:avLst/>
                  <a:gdLst>
                    <a:gd name="connsiteX0" fmla="*/ 1980901 w 2058317"/>
                    <a:gd name="connsiteY0" fmla="*/ 1385151 h 2053595"/>
                    <a:gd name="connsiteX1" fmla="*/ 2008670 w 2058317"/>
                    <a:gd name="connsiteY1" fmla="*/ 1343789 h 2053595"/>
                    <a:gd name="connsiteX2" fmla="*/ 2009059 w 2058317"/>
                    <a:gd name="connsiteY2" fmla="*/ 1343401 h 2053595"/>
                    <a:gd name="connsiteX3" fmla="*/ 2057217 w 2058317"/>
                    <a:gd name="connsiteY3" fmla="*/ 980854 h 2053595"/>
                    <a:gd name="connsiteX4" fmla="*/ 1070165 w 2058317"/>
                    <a:gd name="connsiteY4" fmla="*/ 792 h 2053595"/>
                    <a:gd name="connsiteX5" fmla="*/ 0 w 2058317"/>
                    <a:gd name="connsiteY5" fmla="*/ 1029206 h 2053595"/>
                    <a:gd name="connsiteX6" fmla="*/ 925301 w 2058317"/>
                    <a:gd name="connsiteY6" fmla="*/ 2052960 h 2053595"/>
                    <a:gd name="connsiteX7" fmla="*/ 1003170 w 2058317"/>
                    <a:gd name="connsiteY7" fmla="*/ 2035289 h 2053595"/>
                    <a:gd name="connsiteX8" fmla="*/ 1980707 w 2058317"/>
                    <a:gd name="connsiteY8" fmla="*/ 1385928 h 2053595"/>
                    <a:gd name="connsiteX9" fmla="*/ 1980901 w 2058317"/>
                    <a:gd name="connsiteY9" fmla="*/ 1385151 h 2053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58317" h="2053595">
                      <a:moveTo>
                        <a:pt x="1980901" y="1385151"/>
                      </a:moveTo>
                      <a:cubicBezTo>
                        <a:pt x="1991388" y="1372140"/>
                        <a:pt x="1997019" y="1356023"/>
                        <a:pt x="2008670" y="1343789"/>
                      </a:cubicBezTo>
                      <a:cubicBezTo>
                        <a:pt x="2008864" y="1343595"/>
                        <a:pt x="2009059" y="1343595"/>
                        <a:pt x="2009059" y="1343401"/>
                      </a:cubicBezTo>
                      <a:cubicBezTo>
                        <a:pt x="2045566" y="1229801"/>
                        <a:pt x="2063043" y="1107852"/>
                        <a:pt x="2057217" y="980854"/>
                      </a:cubicBezTo>
                      <a:cubicBezTo>
                        <a:pt x="2032944" y="450529"/>
                        <a:pt x="1600489" y="21376"/>
                        <a:pt x="1070165" y="792"/>
                      </a:cubicBezTo>
                      <a:cubicBezTo>
                        <a:pt x="483137" y="-21928"/>
                        <a:pt x="0" y="447228"/>
                        <a:pt x="0" y="1029206"/>
                      </a:cubicBezTo>
                      <a:cubicBezTo>
                        <a:pt x="0" y="1562444"/>
                        <a:pt x="405657" y="2000918"/>
                        <a:pt x="925301" y="2052960"/>
                      </a:cubicBezTo>
                      <a:cubicBezTo>
                        <a:pt x="952487" y="2055679"/>
                        <a:pt x="979868" y="2049659"/>
                        <a:pt x="1003170" y="2035289"/>
                      </a:cubicBezTo>
                      <a:cubicBezTo>
                        <a:pt x="1171142" y="1931593"/>
                        <a:pt x="1853709" y="1481273"/>
                        <a:pt x="1980707" y="1385928"/>
                      </a:cubicBezTo>
                      <a:cubicBezTo>
                        <a:pt x="1980707" y="1385733"/>
                        <a:pt x="1980707" y="1385345"/>
                        <a:pt x="1980901" y="1385151"/>
                      </a:cubicBezTo>
                      <a:close/>
                    </a:path>
                  </a:pathLst>
                </a:custGeom>
                <a:gradFill>
                  <a:gsLst>
                    <a:gs pos="50000">
                      <a:srgbClr val="38A4B4"/>
                    </a:gs>
                    <a:gs pos="0">
                      <a:srgbClr val="70B1B6"/>
                    </a:gs>
                    <a:gs pos="100000">
                      <a:srgbClr val="0097B2"/>
                    </a:gs>
                  </a:gsLst>
                  <a:lin ang="5400000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  <p:sp>
              <p:nvSpPr>
                <p:cNvPr id="28" name="Forme libre : forme 77">
                  <a:extLst>
                    <a:ext uri="{FF2B5EF4-FFF2-40B4-BE49-F238E27FC236}">
                      <a16:creationId xmlns:a16="http://schemas.microsoft.com/office/drawing/2014/main" id="{56B7D27B-C326-9156-3D90-4955D367A6C5}"/>
                    </a:ext>
                  </a:extLst>
                </p:cNvPr>
                <p:cNvSpPr/>
                <p:nvPr/>
              </p:nvSpPr>
              <p:spPr>
                <a:xfrm>
                  <a:off x="930202" y="1608353"/>
                  <a:ext cx="1239495" cy="722809"/>
                </a:xfrm>
                <a:custGeom>
                  <a:avLst/>
                  <a:gdLst>
                    <a:gd name="connsiteX0" fmla="*/ 1239496 w 1239495"/>
                    <a:gd name="connsiteY0" fmla="*/ 0 h 722809"/>
                    <a:gd name="connsiteX1" fmla="*/ 1149587 w 1239495"/>
                    <a:gd name="connsiteY1" fmla="*/ 36313 h 722809"/>
                    <a:gd name="connsiteX2" fmla="*/ 1039871 w 1239495"/>
                    <a:gd name="connsiteY2" fmla="*/ 41168 h 722809"/>
                    <a:gd name="connsiteX3" fmla="*/ 822382 w 1239495"/>
                    <a:gd name="connsiteY3" fmla="*/ 88549 h 722809"/>
                    <a:gd name="connsiteX4" fmla="*/ 624894 w 1239495"/>
                    <a:gd name="connsiteY4" fmla="*/ 179235 h 722809"/>
                    <a:gd name="connsiteX5" fmla="*/ 452456 w 1239495"/>
                    <a:gd name="connsiteY5" fmla="*/ 307786 h 722809"/>
                    <a:gd name="connsiteX6" fmla="*/ 310505 w 1239495"/>
                    <a:gd name="connsiteY6" fmla="*/ 468961 h 722809"/>
                    <a:gd name="connsiteX7" fmla="*/ 218849 w 1239495"/>
                    <a:gd name="connsiteY7" fmla="*/ 625671 h 722809"/>
                    <a:gd name="connsiteX8" fmla="*/ 166612 w 1239495"/>
                    <a:gd name="connsiteY8" fmla="*/ 677130 h 722809"/>
                    <a:gd name="connsiteX9" fmla="*/ 0 w 1239495"/>
                    <a:gd name="connsiteY9" fmla="*/ 692471 h 722809"/>
                    <a:gd name="connsiteX10" fmla="*/ 179429 w 1239495"/>
                    <a:gd name="connsiteY10" fmla="*/ 721599 h 722809"/>
                    <a:gd name="connsiteX11" fmla="*/ 788982 w 1239495"/>
                    <a:gd name="connsiteY11" fmla="*/ 407598 h 722809"/>
                    <a:gd name="connsiteX12" fmla="*/ 1166093 w 1239495"/>
                    <a:gd name="connsiteY12" fmla="*/ 99424 h 722809"/>
                    <a:gd name="connsiteX13" fmla="*/ 1199687 w 1239495"/>
                    <a:gd name="connsiteY13" fmla="*/ 66218 h 722809"/>
                    <a:gd name="connsiteX14" fmla="*/ 1239496 w 1239495"/>
                    <a:gd name="connsiteY14" fmla="*/ 0 h 722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39495" h="722809">
                      <a:moveTo>
                        <a:pt x="1239496" y="0"/>
                      </a:moveTo>
                      <a:cubicBezTo>
                        <a:pt x="1220077" y="32818"/>
                        <a:pt x="1182016" y="36895"/>
                        <a:pt x="1149587" y="36313"/>
                      </a:cubicBezTo>
                      <a:cubicBezTo>
                        <a:pt x="1112886" y="35730"/>
                        <a:pt x="1076379" y="37284"/>
                        <a:pt x="1039871" y="41168"/>
                      </a:cubicBezTo>
                      <a:cubicBezTo>
                        <a:pt x="965886" y="48935"/>
                        <a:pt x="892872" y="64858"/>
                        <a:pt x="822382" y="88549"/>
                      </a:cubicBezTo>
                      <a:cubicBezTo>
                        <a:pt x="753640" y="111658"/>
                        <a:pt x="687228" y="142145"/>
                        <a:pt x="624894" y="179235"/>
                      </a:cubicBezTo>
                      <a:cubicBezTo>
                        <a:pt x="563142" y="215936"/>
                        <a:pt x="505274" y="259045"/>
                        <a:pt x="452456" y="307786"/>
                      </a:cubicBezTo>
                      <a:cubicBezTo>
                        <a:pt x="399831" y="356333"/>
                        <a:pt x="352061" y="410511"/>
                        <a:pt x="310505" y="468961"/>
                      </a:cubicBezTo>
                      <a:cubicBezTo>
                        <a:pt x="275357" y="518285"/>
                        <a:pt x="244676" y="570910"/>
                        <a:pt x="218849" y="625671"/>
                      </a:cubicBezTo>
                      <a:cubicBezTo>
                        <a:pt x="210693" y="642759"/>
                        <a:pt x="186031" y="665867"/>
                        <a:pt x="166612" y="677130"/>
                      </a:cubicBezTo>
                      <a:cubicBezTo>
                        <a:pt x="84471" y="724900"/>
                        <a:pt x="41168" y="698879"/>
                        <a:pt x="0" y="692471"/>
                      </a:cubicBezTo>
                      <a:cubicBezTo>
                        <a:pt x="108745" y="731891"/>
                        <a:pt x="179429" y="721599"/>
                        <a:pt x="179429" y="721599"/>
                      </a:cubicBezTo>
                      <a:cubicBezTo>
                        <a:pt x="285649" y="714996"/>
                        <a:pt x="563531" y="561200"/>
                        <a:pt x="788982" y="407598"/>
                      </a:cubicBezTo>
                      <a:cubicBezTo>
                        <a:pt x="940642" y="304291"/>
                        <a:pt x="1065310" y="197488"/>
                        <a:pt x="1166093" y="99424"/>
                      </a:cubicBezTo>
                      <a:cubicBezTo>
                        <a:pt x="1179686" y="87384"/>
                        <a:pt x="1190560" y="76315"/>
                        <a:pt x="1199687" y="66218"/>
                      </a:cubicBezTo>
                      <a:cubicBezTo>
                        <a:pt x="1225708" y="37672"/>
                        <a:pt x="1239496" y="0"/>
                        <a:pt x="1239496" y="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5664"/>
                    </a:gs>
                    <a:gs pos="99350">
                      <a:srgbClr val="0097B2"/>
                    </a:gs>
                  </a:gsLst>
                  <a:lin ang="14501957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</p:grpSp>
        </p:grpSp>
        <p:grpSp>
          <p:nvGrpSpPr>
            <p:cNvPr id="29" name="Groupe 4">
              <a:extLst>
                <a:ext uri="{FF2B5EF4-FFF2-40B4-BE49-F238E27FC236}">
                  <a16:creationId xmlns:a16="http://schemas.microsoft.com/office/drawing/2014/main" id="{B61A277F-F5ED-605A-87BF-06062C25C6A3}"/>
                </a:ext>
              </a:extLst>
            </p:cNvPr>
            <p:cNvGrpSpPr/>
            <p:nvPr/>
          </p:nvGrpSpPr>
          <p:grpSpPr>
            <a:xfrm>
              <a:off x="1566945" y="1043727"/>
              <a:ext cx="885623" cy="937538"/>
              <a:chOff x="1240960" y="1969612"/>
              <a:chExt cx="625769" cy="662452"/>
            </a:xfrm>
          </p:grpSpPr>
          <p:grpSp>
            <p:nvGrpSpPr>
              <p:cNvPr id="30" name="Graphique 2">
                <a:extLst>
                  <a:ext uri="{FF2B5EF4-FFF2-40B4-BE49-F238E27FC236}">
                    <a16:creationId xmlns:a16="http://schemas.microsoft.com/office/drawing/2014/main" id="{71ACA6EB-F825-28F2-8FA2-55A9B3C26B8A}"/>
                  </a:ext>
                </a:extLst>
              </p:cNvPr>
              <p:cNvGrpSpPr/>
              <p:nvPr/>
            </p:nvGrpSpPr>
            <p:grpSpPr>
              <a:xfrm flipH="1">
                <a:off x="1395728" y="1969612"/>
                <a:ext cx="319573" cy="383989"/>
                <a:chOff x="981026" y="1344834"/>
                <a:chExt cx="2418112" cy="2905527"/>
              </a:xfrm>
            </p:grpSpPr>
            <p:grpSp>
              <p:nvGrpSpPr>
                <p:cNvPr id="34" name="Graphique 2">
                  <a:extLst>
                    <a:ext uri="{FF2B5EF4-FFF2-40B4-BE49-F238E27FC236}">
                      <a16:creationId xmlns:a16="http://schemas.microsoft.com/office/drawing/2014/main" id="{3CFA9F26-84B5-137C-3975-B8D70F640EF5}"/>
                    </a:ext>
                  </a:extLst>
                </p:cNvPr>
                <p:cNvGrpSpPr/>
                <p:nvPr/>
              </p:nvGrpSpPr>
              <p:grpSpPr>
                <a:xfrm>
                  <a:off x="1098817" y="1344834"/>
                  <a:ext cx="2184485" cy="887190"/>
                  <a:chOff x="1098817" y="1344834"/>
                  <a:chExt cx="2184485" cy="887190"/>
                </a:xfrm>
              </p:grpSpPr>
              <p:grpSp>
                <p:nvGrpSpPr>
                  <p:cNvPr id="64" name="Graphique 2">
                    <a:extLst>
                      <a:ext uri="{FF2B5EF4-FFF2-40B4-BE49-F238E27FC236}">
                        <a16:creationId xmlns:a16="http://schemas.microsoft.com/office/drawing/2014/main" id="{B665178A-3437-2569-0CA1-9F0F593C82FC}"/>
                      </a:ext>
                    </a:extLst>
                  </p:cNvPr>
                  <p:cNvGrpSpPr/>
                  <p:nvPr/>
                </p:nvGrpSpPr>
                <p:grpSpPr>
                  <a:xfrm>
                    <a:off x="1098817" y="1344834"/>
                    <a:ext cx="770041" cy="887190"/>
                    <a:chOff x="1098817" y="1344834"/>
                    <a:chExt cx="770041" cy="887190"/>
                  </a:xfrm>
                </p:grpSpPr>
                <p:grpSp>
                  <p:nvGrpSpPr>
                    <p:cNvPr id="73" name="Graphique 2">
                      <a:extLst>
                        <a:ext uri="{FF2B5EF4-FFF2-40B4-BE49-F238E27FC236}">
                          <a16:creationId xmlns:a16="http://schemas.microsoft.com/office/drawing/2014/main" id="{BB15E2F5-C62F-6E2B-3CA1-305F788BE47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8817" y="1344834"/>
                      <a:ext cx="770041" cy="613581"/>
                      <a:chOff x="1098817" y="1344834"/>
                      <a:chExt cx="770041" cy="613581"/>
                    </a:xfrm>
                  </p:grpSpPr>
                  <p:sp>
                    <p:nvSpPr>
                      <p:cNvPr id="77" name="Forme libre : forme 54">
                        <a:extLst>
                          <a:ext uri="{FF2B5EF4-FFF2-40B4-BE49-F238E27FC236}">
                            <a16:creationId xmlns:a16="http://schemas.microsoft.com/office/drawing/2014/main" id="{830A930C-9F3F-9E86-38CA-88136977E1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8817" y="1344834"/>
                        <a:ext cx="736597" cy="555518"/>
                      </a:xfrm>
                      <a:custGeom>
                        <a:avLst/>
                        <a:gdLst>
                          <a:gd name="connsiteX0" fmla="*/ 219483 w 736597"/>
                          <a:gd name="connsiteY0" fmla="*/ 62874 h 555518"/>
                          <a:gd name="connsiteX1" fmla="*/ 38464 w 736597"/>
                          <a:gd name="connsiteY1" fmla="*/ 555518 h 555518"/>
                          <a:gd name="connsiteX2" fmla="*/ 736597 w 736597"/>
                          <a:gd name="connsiteY2" fmla="*/ 152499 h 555518"/>
                          <a:gd name="connsiteX3" fmla="*/ 219483 w 736597"/>
                          <a:gd name="connsiteY3" fmla="*/ 62874 h 5555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36597" h="555518">
                            <a:moveTo>
                              <a:pt x="219483" y="62874"/>
                            </a:moveTo>
                            <a:cubicBezTo>
                              <a:pt x="26671" y="174021"/>
                              <a:pt x="-54404" y="394546"/>
                              <a:pt x="38464" y="555518"/>
                            </a:cubicBezTo>
                            <a:lnTo>
                              <a:pt x="736597" y="152499"/>
                            </a:lnTo>
                            <a:cubicBezTo>
                              <a:pt x="643729" y="-8178"/>
                              <a:pt x="412296" y="-48273"/>
                              <a:pt x="219483" y="6287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 dirty="0"/>
                      </a:p>
                    </p:txBody>
                  </p:sp>
                  <p:sp>
                    <p:nvSpPr>
                      <p:cNvPr id="78" name="Forme libre : forme 55">
                        <a:extLst>
                          <a:ext uri="{FF2B5EF4-FFF2-40B4-BE49-F238E27FC236}">
                            <a16:creationId xmlns:a16="http://schemas.microsoft.com/office/drawing/2014/main" id="{E1870002-8DDE-2CBD-F30A-FD21794B67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95894" y="1365598"/>
                        <a:ext cx="516229" cy="179200"/>
                      </a:xfrm>
                      <a:custGeom>
                        <a:avLst/>
                        <a:gdLst>
                          <a:gd name="connsiteX0" fmla="*/ 4127 w 516229"/>
                          <a:gd name="connsiteY0" fmla="*/ 62747 h 179200"/>
                          <a:gd name="connsiteX1" fmla="*/ 0 w 516229"/>
                          <a:gd name="connsiteY1" fmla="*/ 65400 h 179200"/>
                          <a:gd name="connsiteX2" fmla="*/ 457266 w 516229"/>
                          <a:gd name="connsiteY2" fmla="*/ 179201 h 179200"/>
                          <a:gd name="connsiteX3" fmla="*/ 516230 w 516229"/>
                          <a:gd name="connsiteY3" fmla="*/ 145296 h 179200"/>
                          <a:gd name="connsiteX4" fmla="*/ 4127 w 516229"/>
                          <a:gd name="connsiteY4" fmla="*/ 62747 h 17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16229" h="179200">
                            <a:moveTo>
                              <a:pt x="4127" y="62747"/>
                            </a:moveTo>
                            <a:cubicBezTo>
                              <a:pt x="2653" y="63631"/>
                              <a:pt x="1474" y="64516"/>
                              <a:pt x="0" y="65400"/>
                            </a:cubicBezTo>
                            <a:cubicBezTo>
                              <a:pt x="177776" y="-8010"/>
                              <a:pt x="372357" y="37097"/>
                              <a:pt x="457266" y="179201"/>
                            </a:cubicBezTo>
                            <a:lnTo>
                              <a:pt x="516230" y="145296"/>
                            </a:lnTo>
                            <a:cubicBezTo>
                              <a:pt x="420708" y="-9189"/>
                              <a:pt x="193697" y="-46631"/>
                              <a:pt x="4127" y="62747"/>
                            </a:cubicBezTo>
                            <a:close/>
                          </a:path>
                        </a:pathLst>
                      </a:custGeom>
                      <a:solidFill>
                        <a:srgbClr val="37D3CF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79" name="Forme libre : forme 57">
                        <a:extLst>
                          <a:ext uri="{FF2B5EF4-FFF2-40B4-BE49-F238E27FC236}">
                            <a16:creationId xmlns:a16="http://schemas.microsoft.com/office/drawing/2014/main" id="{AD7BEF68-0C1C-E18A-170E-B93575DDFE9F}"/>
                          </a:ext>
                        </a:extLst>
                      </p:cNvPr>
                      <p:cNvSpPr/>
                      <p:nvPr/>
                    </p:nvSpPr>
                    <p:spPr>
                      <a:xfrm rot="-1800044">
                        <a:off x="1083373" y="1632027"/>
                        <a:ext cx="806019" cy="133845"/>
                      </a:xfrm>
                      <a:custGeom>
                        <a:avLst/>
                        <a:gdLst>
                          <a:gd name="connsiteX0" fmla="*/ 806020 w 806019"/>
                          <a:gd name="connsiteY0" fmla="*/ 66923 h 133845"/>
                          <a:gd name="connsiteX1" fmla="*/ 403010 w 806019"/>
                          <a:gd name="connsiteY1" fmla="*/ 133845 h 133845"/>
                          <a:gd name="connsiteX2" fmla="*/ 0 w 806019"/>
                          <a:gd name="connsiteY2" fmla="*/ 66923 h 133845"/>
                          <a:gd name="connsiteX3" fmla="*/ 403010 w 806019"/>
                          <a:gd name="connsiteY3" fmla="*/ 0 h 133845"/>
                          <a:gd name="connsiteX4" fmla="*/ 806020 w 806019"/>
                          <a:gd name="connsiteY4" fmla="*/ 66923 h 13384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06019" h="133845">
                            <a:moveTo>
                              <a:pt x="806020" y="66923"/>
                            </a:moveTo>
                            <a:cubicBezTo>
                              <a:pt x="806020" y="103883"/>
                              <a:pt x="625586" y="133845"/>
                              <a:pt x="403010" y="133845"/>
                            </a:cubicBezTo>
                            <a:cubicBezTo>
                              <a:pt x="180434" y="133845"/>
                              <a:pt x="0" y="103883"/>
                              <a:pt x="0" y="66923"/>
                            </a:cubicBezTo>
                            <a:cubicBezTo>
                              <a:pt x="0" y="29962"/>
                              <a:pt x="180434" y="0"/>
                              <a:pt x="403010" y="0"/>
                            </a:cubicBezTo>
                            <a:cubicBezTo>
                              <a:pt x="625586" y="0"/>
                              <a:pt x="806020" y="29962"/>
                              <a:pt x="806020" y="66923"/>
                            </a:cubicBezTo>
                            <a:close/>
                          </a:path>
                        </a:pathLst>
                      </a:custGeom>
                      <a:solidFill>
                        <a:srgbClr val="05535F"/>
                      </a:solidFill>
                      <a:ln w="29459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  <p:grpSp>
                  <p:nvGrpSpPr>
                    <p:cNvPr id="74" name="Graphique 2">
                      <a:extLst>
                        <a:ext uri="{FF2B5EF4-FFF2-40B4-BE49-F238E27FC236}">
                          <a16:creationId xmlns:a16="http://schemas.microsoft.com/office/drawing/2014/main" id="{FB58E864-2445-585F-6A7F-F00A3B04529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335" y="1651948"/>
                      <a:ext cx="412617" cy="580075"/>
                      <a:chOff x="1426335" y="1651948"/>
                      <a:chExt cx="412617" cy="580075"/>
                    </a:xfrm>
                  </p:grpSpPr>
                  <p:sp>
                    <p:nvSpPr>
                      <p:cNvPr id="75" name="Forme libre : forme 49">
                        <a:extLst>
                          <a:ext uri="{FF2B5EF4-FFF2-40B4-BE49-F238E27FC236}">
                            <a16:creationId xmlns:a16="http://schemas.microsoft.com/office/drawing/2014/main" id="{EDE19DE7-17DD-E006-11D4-ECA71C6118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335" y="1651948"/>
                        <a:ext cx="412617" cy="580075"/>
                      </a:xfrm>
                      <a:custGeom>
                        <a:avLst/>
                        <a:gdLst>
                          <a:gd name="connsiteX0" fmla="*/ 412618 w 412617"/>
                          <a:gd name="connsiteY0" fmla="*/ 502538 h 580075"/>
                          <a:gd name="connsiteX1" fmla="*/ 278180 w 412617"/>
                          <a:gd name="connsiteY1" fmla="*/ 580075 h 580075"/>
                          <a:gd name="connsiteX2" fmla="*/ 10483 w 412617"/>
                          <a:gd name="connsiteY2" fmla="*/ 116324 h 580075"/>
                          <a:gd name="connsiteX3" fmla="*/ 38786 w 412617"/>
                          <a:gd name="connsiteY3" fmla="*/ 10483 h 580075"/>
                          <a:gd name="connsiteX4" fmla="*/ 144626 w 412617"/>
                          <a:gd name="connsiteY4" fmla="*/ 38786 h 580075"/>
                          <a:gd name="connsiteX5" fmla="*/ 412618 w 412617"/>
                          <a:gd name="connsiteY5" fmla="*/ 502538 h 5800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12617" h="580075">
                            <a:moveTo>
                              <a:pt x="412618" y="502538"/>
                            </a:moveTo>
                            <a:lnTo>
                              <a:pt x="278180" y="580075"/>
                            </a:lnTo>
                            <a:lnTo>
                              <a:pt x="10483" y="116324"/>
                            </a:lnTo>
                            <a:cubicBezTo>
                              <a:pt x="-11038" y="79176"/>
                              <a:pt x="1639" y="31710"/>
                              <a:pt x="38786" y="10483"/>
                            </a:cubicBezTo>
                            <a:cubicBezTo>
                              <a:pt x="75933" y="-11038"/>
                              <a:pt x="123399" y="1639"/>
                              <a:pt x="144626" y="38786"/>
                            </a:cubicBezTo>
                            <a:lnTo>
                              <a:pt x="412618" y="502538"/>
                            </a:lnTo>
                            <a:close/>
                          </a:path>
                        </a:pathLst>
                      </a:custGeom>
                      <a:solidFill>
                        <a:srgbClr val="044856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 dirty="0"/>
                      </a:p>
                    </p:txBody>
                  </p:sp>
                  <p:sp>
                    <p:nvSpPr>
                      <p:cNvPr id="76" name="Forme libre : forme 50">
                        <a:extLst>
                          <a:ext uri="{FF2B5EF4-FFF2-40B4-BE49-F238E27FC236}">
                            <a16:creationId xmlns:a16="http://schemas.microsoft.com/office/drawing/2014/main" id="{137F9F19-E0C6-6DF3-B25E-1C763B89F4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7280" y="1667149"/>
                        <a:ext cx="301895" cy="475249"/>
                      </a:xfrm>
                      <a:custGeom>
                        <a:avLst/>
                        <a:gdLst>
                          <a:gd name="connsiteX0" fmla="*/ 288923 w 301895"/>
                          <a:gd name="connsiteY0" fmla="*/ 475250 h 475249"/>
                          <a:gd name="connsiteX1" fmla="*/ 301896 w 301895"/>
                          <a:gd name="connsiteY1" fmla="*/ 467584 h 475249"/>
                          <a:gd name="connsiteX2" fmla="*/ 53362 w 301895"/>
                          <a:gd name="connsiteY2" fmla="*/ 37147 h 475249"/>
                          <a:gd name="connsiteX3" fmla="*/ 0 w 301895"/>
                          <a:gd name="connsiteY3" fmla="*/ 0 h 475249"/>
                          <a:gd name="connsiteX4" fmla="*/ 32135 w 301895"/>
                          <a:gd name="connsiteY4" fmla="*/ 30366 h 475249"/>
                          <a:gd name="connsiteX5" fmla="*/ 288923 w 301895"/>
                          <a:gd name="connsiteY5" fmla="*/ 475250 h 47524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301895" h="475249">
                            <a:moveTo>
                              <a:pt x="288923" y="475250"/>
                            </a:moveTo>
                            <a:lnTo>
                              <a:pt x="301896" y="467584"/>
                            </a:lnTo>
                            <a:lnTo>
                              <a:pt x="53362" y="37147"/>
                            </a:lnTo>
                            <a:cubicBezTo>
                              <a:pt x="41570" y="16510"/>
                              <a:pt x="21522" y="3833"/>
                              <a:pt x="0" y="0"/>
                            </a:cubicBezTo>
                            <a:cubicBezTo>
                              <a:pt x="12972" y="6486"/>
                              <a:pt x="24175" y="16805"/>
                              <a:pt x="32135" y="30366"/>
                            </a:cubicBezTo>
                            <a:lnTo>
                              <a:pt x="288923" y="475250"/>
                            </a:lnTo>
                            <a:close/>
                          </a:path>
                        </a:pathLst>
                      </a:custGeom>
                      <a:solidFill>
                        <a:srgbClr val="087379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</p:grpSp>
              <p:grpSp>
                <p:nvGrpSpPr>
                  <p:cNvPr id="65" name="Graphique 2">
                    <a:extLst>
                      <a:ext uri="{FF2B5EF4-FFF2-40B4-BE49-F238E27FC236}">
                        <a16:creationId xmlns:a16="http://schemas.microsoft.com/office/drawing/2014/main" id="{6FF5FB77-B345-B315-57F5-CACCC87644CC}"/>
                      </a:ext>
                    </a:extLst>
                  </p:cNvPr>
                  <p:cNvGrpSpPr/>
                  <p:nvPr/>
                </p:nvGrpSpPr>
                <p:grpSpPr>
                  <a:xfrm>
                    <a:off x="2513728" y="1344834"/>
                    <a:ext cx="769575" cy="887190"/>
                    <a:chOff x="2513728" y="1344834"/>
                    <a:chExt cx="769575" cy="887190"/>
                  </a:xfrm>
                </p:grpSpPr>
                <p:grpSp>
                  <p:nvGrpSpPr>
                    <p:cNvPr id="66" name="Graphique 2">
                      <a:extLst>
                        <a:ext uri="{FF2B5EF4-FFF2-40B4-BE49-F238E27FC236}">
                          <a16:creationId xmlns:a16="http://schemas.microsoft.com/office/drawing/2014/main" id="{62C564E7-D03B-C28F-1A47-063814AEEE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513728" y="1344834"/>
                      <a:ext cx="769575" cy="613500"/>
                      <a:chOff x="2513728" y="1344834"/>
                      <a:chExt cx="769575" cy="613500"/>
                    </a:xfrm>
                  </p:grpSpPr>
                  <p:sp>
                    <p:nvSpPr>
                      <p:cNvPr id="70" name="Forme libre : forme 44">
                        <a:extLst>
                          <a:ext uri="{FF2B5EF4-FFF2-40B4-BE49-F238E27FC236}">
                            <a16:creationId xmlns:a16="http://schemas.microsoft.com/office/drawing/2014/main" id="{A0E87398-F333-C764-FABF-B9865164CE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546815" y="1344834"/>
                        <a:ext cx="736487" cy="555518"/>
                      </a:xfrm>
                      <a:custGeom>
                        <a:avLst/>
                        <a:gdLst>
                          <a:gd name="connsiteX0" fmla="*/ 517114 w 736487"/>
                          <a:gd name="connsiteY0" fmla="*/ 62874 h 555518"/>
                          <a:gd name="connsiteX1" fmla="*/ 0 w 736487"/>
                          <a:gd name="connsiteY1" fmla="*/ 152499 h 555518"/>
                          <a:gd name="connsiteX2" fmla="*/ 697839 w 736487"/>
                          <a:gd name="connsiteY2" fmla="*/ 555518 h 555518"/>
                          <a:gd name="connsiteX3" fmla="*/ 517114 w 736487"/>
                          <a:gd name="connsiteY3" fmla="*/ 62874 h 5555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36487" h="555518">
                            <a:moveTo>
                              <a:pt x="517114" y="62874"/>
                            </a:moveTo>
                            <a:cubicBezTo>
                              <a:pt x="324302" y="-48273"/>
                              <a:pt x="92868" y="-8178"/>
                              <a:pt x="0" y="152499"/>
                            </a:cubicBezTo>
                            <a:lnTo>
                              <a:pt x="697839" y="555518"/>
                            </a:lnTo>
                            <a:cubicBezTo>
                              <a:pt x="791002" y="394841"/>
                              <a:pt x="709926" y="174316"/>
                              <a:pt x="517114" y="6287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71" name="Forme libre : forme 45">
                        <a:extLst>
                          <a:ext uri="{FF2B5EF4-FFF2-40B4-BE49-F238E27FC236}">
                            <a16:creationId xmlns:a16="http://schemas.microsoft.com/office/drawing/2014/main" id="{D6342C0C-E0A5-FC7F-4593-DC2651F0DB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032678" y="1400042"/>
                        <a:ext cx="223421" cy="486747"/>
                      </a:xfrm>
                      <a:custGeom>
                        <a:avLst/>
                        <a:gdLst>
                          <a:gd name="connsiteX0" fmla="*/ 4422 w 223421"/>
                          <a:gd name="connsiteY0" fmla="*/ 2359 h 486747"/>
                          <a:gd name="connsiteX1" fmla="*/ 0 w 223421"/>
                          <a:gd name="connsiteY1" fmla="*/ 0 h 486747"/>
                          <a:gd name="connsiteX2" fmla="*/ 130311 w 223421"/>
                          <a:gd name="connsiteY2" fmla="*/ 452843 h 486747"/>
                          <a:gd name="connsiteX3" fmla="*/ 189275 w 223421"/>
                          <a:gd name="connsiteY3" fmla="*/ 486748 h 486747"/>
                          <a:gd name="connsiteX4" fmla="*/ 4422 w 223421"/>
                          <a:gd name="connsiteY4" fmla="*/ 2359 h 48674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23421" h="486747">
                            <a:moveTo>
                              <a:pt x="4422" y="2359"/>
                            </a:moveTo>
                            <a:cubicBezTo>
                              <a:pt x="2948" y="1474"/>
                              <a:pt x="1474" y="884"/>
                              <a:pt x="0" y="0"/>
                            </a:cubicBezTo>
                            <a:cubicBezTo>
                              <a:pt x="152422" y="117044"/>
                              <a:pt x="210796" y="308382"/>
                              <a:pt x="130311" y="452843"/>
                            </a:cubicBezTo>
                            <a:lnTo>
                              <a:pt x="189275" y="486748"/>
                            </a:lnTo>
                            <a:cubicBezTo>
                              <a:pt x="275067" y="326955"/>
                              <a:pt x="193992" y="111737"/>
                              <a:pt x="4422" y="2359"/>
                            </a:cubicBezTo>
                            <a:close/>
                          </a:path>
                        </a:pathLst>
                      </a:custGeom>
                      <a:solidFill>
                        <a:srgbClr val="37D3CF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72" name="Forme libre : forme 46">
                        <a:extLst>
                          <a:ext uri="{FF2B5EF4-FFF2-40B4-BE49-F238E27FC236}">
                            <a16:creationId xmlns:a16="http://schemas.microsoft.com/office/drawing/2014/main" id="{B4669EE3-16EB-FD3F-6650-4309F5411FD0}"/>
                          </a:ext>
                        </a:extLst>
                      </p:cNvPr>
                      <p:cNvSpPr/>
                      <p:nvPr/>
                    </p:nvSpPr>
                    <p:spPr>
                      <a:xfrm rot="-3599956">
                        <a:off x="2829282" y="1295859"/>
                        <a:ext cx="133845" cy="806019"/>
                      </a:xfrm>
                      <a:custGeom>
                        <a:avLst/>
                        <a:gdLst>
                          <a:gd name="connsiteX0" fmla="*/ 133845 w 133845"/>
                          <a:gd name="connsiteY0" fmla="*/ 403010 h 806019"/>
                          <a:gd name="connsiteX1" fmla="*/ 66923 w 133845"/>
                          <a:gd name="connsiteY1" fmla="*/ 806020 h 806019"/>
                          <a:gd name="connsiteX2" fmla="*/ 0 w 133845"/>
                          <a:gd name="connsiteY2" fmla="*/ 403010 h 806019"/>
                          <a:gd name="connsiteX3" fmla="*/ 66923 w 133845"/>
                          <a:gd name="connsiteY3" fmla="*/ 0 h 806019"/>
                          <a:gd name="connsiteX4" fmla="*/ 133845 w 133845"/>
                          <a:gd name="connsiteY4" fmla="*/ 403010 h 8060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3845" h="806019">
                            <a:moveTo>
                              <a:pt x="133845" y="403010"/>
                            </a:moveTo>
                            <a:cubicBezTo>
                              <a:pt x="133845" y="625586"/>
                              <a:pt x="103883" y="806020"/>
                              <a:pt x="66923" y="806020"/>
                            </a:cubicBezTo>
                            <a:cubicBezTo>
                              <a:pt x="29962" y="806020"/>
                              <a:pt x="0" y="625586"/>
                              <a:pt x="0" y="403010"/>
                            </a:cubicBezTo>
                            <a:cubicBezTo>
                              <a:pt x="0" y="180434"/>
                              <a:pt x="29962" y="0"/>
                              <a:pt x="66923" y="0"/>
                            </a:cubicBezTo>
                            <a:cubicBezTo>
                              <a:pt x="103883" y="0"/>
                              <a:pt x="133845" y="180434"/>
                              <a:pt x="133845" y="403010"/>
                            </a:cubicBezTo>
                            <a:close/>
                          </a:path>
                        </a:pathLst>
                      </a:custGeom>
                      <a:solidFill>
                        <a:srgbClr val="05535F"/>
                      </a:solidFill>
                      <a:ln w="29459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  <p:grpSp>
                  <p:nvGrpSpPr>
                    <p:cNvPr id="67" name="Graphique 2">
                      <a:extLst>
                        <a:ext uri="{FF2B5EF4-FFF2-40B4-BE49-F238E27FC236}">
                          <a16:creationId xmlns:a16="http://schemas.microsoft.com/office/drawing/2014/main" id="{6DF5C4F3-E19F-4DA9-7FC0-D25164BAB39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543277" y="1651948"/>
                      <a:ext cx="412322" cy="580075"/>
                      <a:chOff x="2543277" y="1651948"/>
                      <a:chExt cx="412322" cy="580075"/>
                    </a:xfrm>
                  </p:grpSpPr>
                  <p:sp>
                    <p:nvSpPr>
                      <p:cNvPr id="68" name="Forme libre : forme 42">
                        <a:extLst>
                          <a:ext uri="{FF2B5EF4-FFF2-40B4-BE49-F238E27FC236}">
                            <a16:creationId xmlns:a16="http://schemas.microsoft.com/office/drawing/2014/main" id="{CDD89BAB-5E1B-DD1D-26C5-B0543B44F2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543277" y="1651948"/>
                        <a:ext cx="412322" cy="580075"/>
                      </a:xfrm>
                      <a:custGeom>
                        <a:avLst/>
                        <a:gdLst>
                          <a:gd name="connsiteX0" fmla="*/ 134438 w 412322"/>
                          <a:gd name="connsiteY0" fmla="*/ 580075 h 580075"/>
                          <a:gd name="connsiteX1" fmla="*/ 0 w 412322"/>
                          <a:gd name="connsiteY1" fmla="*/ 502538 h 580075"/>
                          <a:gd name="connsiteX2" fmla="*/ 267697 w 412322"/>
                          <a:gd name="connsiteY2" fmla="*/ 38786 h 580075"/>
                          <a:gd name="connsiteX3" fmla="*/ 373537 w 412322"/>
                          <a:gd name="connsiteY3" fmla="*/ 10483 h 580075"/>
                          <a:gd name="connsiteX4" fmla="*/ 401840 w 412322"/>
                          <a:gd name="connsiteY4" fmla="*/ 116324 h 580075"/>
                          <a:gd name="connsiteX5" fmla="*/ 134438 w 412322"/>
                          <a:gd name="connsiteY5" fmla="*/ 580075 h 5800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12322" h="580075">
                            <a:moveTo>
                              <a:pt x="134438" y="580075"/>
                            </a:moveTo>
                            <a:lnTo>
                              <a:pt x="0" y="502538"/>
                            </a:lnTo>
                            <a:lnTo>
                              <a:pt x="267697" y="38786"/>
                            </a:lnTo>
                            <a:cubicBezTo>
                              <a:pt x="289218" y="1639"/>
                              <a:pt x="336684" y="-11038"/>
                              <a:pt x="373537" y="10483"/>
                            </a:cubicBezTo>
                            <a:cubicBezTo>
                              <a:pt x="410684" y="32005"/>
                              <a:pt x="423361" y="79471"/>
                              <a:pt x="401840" y="116324"/>
                            </a:cubicBezTo>
                            <a:lnTo>
                              <a:pt x="134438" y="580075"/>
                            </a:lnTo>
                            <a:close/>
                          </a:path>
                        </a:pathLst>
                      </a:custGeom>
                      <a:solidFill>
                        <a:srgbClr val="044856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69" name="Forme libre : forme 43">
                        <a:extLst>
                          <a:ext uri="{FF2B5EF4-FFF2-40B4-BE49-F238E27FC236}">
                            <a16:creationId xmlns:a16="http://schemas.microsoft.com/office/drawing/2014/main" id="{AFEBFD9E-A556-40FF-30DD-AD62FEA063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66807" y="1701348"/>
                        <a:ext cx="271718" cy="495297"/>
                      </a:xfrm>
                      <a:custGeom>
                        <a:avLst/>
                        <a:gdLst>
                          <a:gd name="connsiteX0" fmla="*/ 0 w 271718"/>
                          <a:gd name="connsiteY0" fmla="*/ 487632 h 495297"/>
                          <a:gd name="connsiteX1" fmla="*/ 12972 w 271718"/>
                          <a:gd name="connsiteY1" fmla="*/ 495297 h 495297"/>
                          <a:gd name="connsiteX2" fmla="*/ 261505 w 271718"/>
                          <a:gd name="connsiteY2" fmla="*/ 64860 h 495297"/>
                          <a:gd name="connsiteX3" fmla="*/ 267107 w 271718"/>
                          <a:gd name="connsiteY3" fmla="*/ 0 h 495297"/>
                          <a:gd name="connsiteX4" fmla="*/ 256788 w 271718"/>
                          <a:gd name="connsiteY4" fmla="*/ 43044 h 495297"/>
                          <a:gd name="connsiteX5" fmla="*/ 0 w 271718"/>
                          <a:gd name="connsiteY5" fmla="*/ 487632 h 49529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271718" h="495297">
                            <a:moveTo>
                              <a:pt x="0" y="487632"/>
                            </a:moveTo>
                            <a:lnTo>
                              <a:pt x="12972" y="495297"/>
                            </a:lnTo>
                            <a:lnTo>
                              <a:pt x="261505" y="64860"/>
                            </a:lnTo>
                            <a:cubicBezTo>
                              <a:pt x="273298" y="44223"/>
                              <a:pt x="274477" y="20637"/>
                              <a:pt x="267107" y="0"/>
                            </a:cubicBezTo>
                            <a:cubicBezTo>
                              <a:pt x="267991" y="14446"/>
                              <a:pt x="264748" y="29482"/>
                              <a:pt x="256788" y="43044"/>
                            </a:cubicBezTo>
                            <a:lnTo>
                              <a:pt x="0" y="487632"/>
                            </a:lnTo>
                            <a:close/>
                          </a:path>
                        </a:pathLst>
                      </a:custGeom>
                      <a:solidFill>
                        <a:srgbClr val="087379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</p:grpSp>
            </p:grpSp>
            <p:grpSp>
              <p:nvGrpSpPr>
                <p:cNvPr id="35" name="Graphique 2">
                  <a:extLst>
                    <a:ext uri="{FF2B5EF4-FFF2-40B4-BE49-F238E27FC236}">
                      <a16:creationId xmlns:a16="http://schemas.microsoft.com/office/drawing/2014/main" id="{75729164-9431-7B5A-E184-F793C03996E2}"/>
                    </a:ext>
                  </a:extLst>
                </p:cNvPr>
                <p:cNvGrpSpPr/>
                <p:nvPr/>
              </p:nvGrpSpPr>
              <p:grpSpPr>
                <a:xfrm>
                  <a:off x="1307097" y="3544562"/>
                  <a:ext cx="1765971" cy="705798"/>
                  <a:chOff x="1307097" y="3544562"/>
                  <a:chExt cx="1765971" cy="705798"/>
                </a:xfrm>
              </p:grpSpPr>
              <p:grpSp>
                <p:nvGrpSpPr>
                  <p:cNvPr id="58" name="Graphique 2">
                    <a:extLst>
                      <a:ext uri="{FF2B5EF4-FFF2-40B4-BE49-F238E27FC236}">
                        <a16:creationId xmlns:a16="http://schemas.microsoft.com/office/drawing/2014/main" id="{3DE12240-C359-2D45-1640-22E625CFE7EF}"/>
                      </a:ext>
                    </a:extLst>
                  </p:cNvPr>
                  <p:cNvGrpSpPr/>
                  <p:nvPr/>
                </p:nvGrpSpPr>
                <p:grpSpPr>
                  <a:xfrm>
                    <a:off x="1307097" y="3544562"/>
                    <a:ext cx="737344" cy="705798"/>
                    <a:chOff x="1307097" y="3544562"/>
                    <a:chExt cx="737344" cy="705798"/>
                  </a:xfrm>
                </p:grpSpPr>
                <p:sp>
                  <p:nvSpPr>
                    <p:cNvPr id="62" name="Forme libre : forme 36">
                      <a:extLst>
                        <a:ext uri="{FF2B5EF4-FFF2-40B4-BE49-F238E27FC236}">
                          <a16:creationId xmlns:a16="http://schemas.microsoft.com/office/drawing/2014/main" id="{44FD021A-C35A-E136-EB41-0C52521A45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1910" y="3575813"/>
                      <a:ext cx="692531" cy="674548"/>
                    </a:xfrm>
                    <a:custGeom>
                      <a:avLst/>
                      <a:gdLst>
                        <a:gd name="connsiteX0" fmla="*/ 692532 w 692531"/>
                        <a:gd name="connsiteY0" fmla="*/ 63386 h 674548"/>
                        <a:gd name="connsiteX1" fmla="*/ 438692 w 692531"/>
                        <a:gd name="connsiteY1" fmla="*/ 0 h 674548"/>
                        <a:gd name="connsiteX2" fmla="*/ 0 w 692531"/>
                        <a:gd name="connsiteY2" fmla="*/ 674548 h 674548"/>
                        <a:gd name="connsiteX3" fmla="*/ 65745 w 692531"/>
                        <a:gd name="connsiteY3" fmla="*/ 674548 h 6745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692531" h="674548">
                          <a:moveTo>
                            <a:pt x="692532" y="63386"/>
                          </a:moveTo>
                          <a:lnTo>
                            <a:pt x="438692" y="0"/>
                          </a:lnTo>
                          <a:lnTo>
                            <a:pt x="0" y="674548"/>
                          </a:lnTo>
                          <a:lnTo>
                            <a:pt x="65745" y="674548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 dirty="0"/>
                    </a:p>
                  </p:txBody>
                </p:sp>
                <p:sp>
                  <p:nvSpPr>
                    <p:cNvPr id="63" name="Forme libre : forme 37">
                      <a:extLst>
                        <a:ext uri="{FF2B5EF4-FFF2-40B4-BE49-F238E27FC236}">
                          <a16:creationId xmlns:a16="http://schemas.microsoft.com/office/drawing/2014/main" id="{A597E947-4966-185B-97A5-9E4EA424B5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07097" y="3544562"/>
                      <a:ext cx="483504" cy="705798"/>
                    </a:xfrm>
                    <a:custGeom>
                      <a:avLst/>
                      <a:gdLst>
                        <a:gd name="connsiteX0" fmla="*/ 358501 w 483504"/>
                        <a:gd name="connsiteY0" fmla="*/ 0 h 705798"/>
                        <a:gd name="connsiteX1" fmla="*/ 0 w 483504"/>
                        <a:gd name="connsiteY1" fmla="*/ 705799 h 705798"/>
                        <a:gd name="connsiteX2" fmla="*/ 44813 w 483504"/>
                        <a:gd name="connsiteY2" fmla="*/ 705799 h 705798"/>
                        <a:gd name="connsiteX3" fmla="*/ 483505 w 483504"/>
                        <a:gd name="connsiteY3" fmla="*/ 31251 h 7057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83504" h="705798">
                          <a:moveTo>
                            <a:pt x="358501" y="0"/>
                          </a:moveTo>
                          <a:lnTo>
                            <a:pt x="0" y="705799"/>
                          </a:lnTo>
                          <a:lnTo>
                            <a:pt x="44813" y="705799"/>
                          </a:lnTo>
                          <a:lnTo>
                            <a:pt x="483505" y="31251"/>
                          </a:lnTo>
                          <a:close/>
                        </a:path>
                      </a:pathLst>
                    </a:custGeom>
                    <a:solidFill>
                      <a:srgbClr val="0B9392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  <p:grpSp>
                <p:nvGrpSpPr>
                  <p:cNvPr id="59" name="Graphique 2">
                    <a:extLst>
                      <a:ext uri="{FF2B5EF4-FFF2-40B4-BE49-F238E27FC236}">
                        <a16:creationId xmlns:a16="http://schemas.microsoft.com/office/drawing/2014/main" id="{358BBE67-3AA7-A27D-D1AB-C93BED521531}"/>
                      </a:ext>
                    </a:extLst>
                  </p:cNvPr>
                  <p:cNvGrpSpPr/>
                  <p:nvPr/>
                </p:nvGrpSpPr>
                <p:grpSpPr>
                  <a:xfrm>
                    <a:off x="2335429" y="3544562"/>
                    <a:ext cx="737639" cy="705798"/>
                    <a:chOff x="2335429" y="3544562"/>
                    <a:chExt cx="737639" cy="705798"/>
                  </a:xfrm>
                </p:grpSpPr>
                <p:sp>
                  <p:nvSpPr>
                    <p:cNvPr id="60" name="Forme libre : forme 34">
                      <a:extLst>
                        <a:ext uri="{FF2B5EF4-FFF2-40B4-BE49-F238E27FC236}">
                          <a16:creationId xmlns:a16="http://schemas.microsoft.com/office/drawing/2014/main" id="{BCA7BB6F-6B47-384F-C0BA-4F1F7940A4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35429" y="3575813"/>
                      <a:ext cx="692826" cy="674548"/>
                    </a:xfrm>
                    <a:custGeom>
                      <a:avLst/>
                      <a:gdLst>
                        <a:gd name="connsiteX0" fmla="*/ 0 w 692826"/>
                        <a:gd name="connsiteY0" fmla="*/ 63386 h 674548"/>
                        <a:gd name="connsiteX1" fmla="*/ 254135 w 692826"/>
                        <a:gd name="connsiteY1" fmla="*/ 0 h 674548"/>
                        <a:gd name="connsiteX2" fmla="*/ 692827 w 692826"/>
                        <a:gd name="connsiteY2" fmla="*/ 674548 h 674548"/>
                        <a:gd name="connsiteX3" fmla="*/ 627082 w 692826"/>
                        <a:gd name="connsiteY3" fmla="*/ 674548 h 6745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692826" h="674548">
                          <a:moveTo>
                            <a:pt x="0" y="63386"/>
                          </a:moveTo>
                          <a:lnTo>
                            <a:pt x="254135" y="0"/>
                          </a:lnTo>
                          <a:lnTo>
                            <a:pt x="692827" y="674548"/>
                          </a:lnTo>
                          <a:lnTo>
                            <a:pt x="627082" y="674548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61" name="Forme libre : forme 35">
                      <a:extLst>
                        <a:ext uri="{FF2B5EF4-FFF2-40B4-BE49-F238E27FC236}">
                          <a16:creationId xmlns:a16="http://schemas.microsoft.com/office/drawing/2014/main" id="{FAAF3D22-C580-6D48-AC4D-B042C28F3B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89564" y="3544562"/>
                      <a:ext cx="483504" cy="705798"/>
                    </a:xfrm>
                    <a:custGeom>
                      <a:avLst/>
                      <a:gdLst>
                        <a:gd name="connsiteX0" fmla="*/ 125004 w 483504"/>
                        <a:gd name="connsiteY0" fmla="*/ 0 h 705798"/>
                        <a:gd name="connsiteX1" fmla="*/ 483505 w 483504"/>
                        <a:gd name="connsiteY1" fmla="*/ 705799 h 705798"/>
                        <a:gd name="connsiteX2" fmla="*/ 438692 w 483504"/>
                        <a:gd name="connsiteY2" fmla="*/ 705799 h 705798"/>
                        <a:gd name="connsiteX3" fmla="*/ 0 w 483504"/>
                        <a:gd name="connsiteY3" fmla="*/ 31251 h 7057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83504" h="705798">
                          <a:moveTo>
                            <a:pt x="125004" y="0"/>
                          </a:moveTo>
                          <a:lnTo>
                            <a:pt x="483505" y="705799"/>
                          </a:lnTo>
                          <a:lnTo>
                            <a:pt x="438692" y="705799"/>
                          </a:lnTo>
                          <a:lnTo>
                            <a:pt x="0" y="31251"/>
                          </a:lnTo>
                          <a:close/>
                        </a:path>
                      </a:pathLst>
                    </a:custGeom>
                    <a:solidFill>
                      <a:srgbClr val="0B9392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</p:grpSp>
            <p:sp>
              <p:nvSpPr>
                <p:cNvPr id="36" name="Forme libre : forme 13">
                  <a:extLst>
                    <a:ext uri="{FF2B5EF4-FFF2-40B4-BE49-F238E27FC236}">
                      <a16:creationId xmlns:a16="http://schemas.microsoft.com/office/drawing/2014/main" id="{67281227-121F-F057-1803-FA80E156C77F}"/>
                    </a:ext>
                  </a:extLst>
                </p:cNvPr>
                <p:cNvSpPr/>
                <p:nvPr/>
              </p:nvSpPr>
              <p:spPr>
                <a:xfrm>
                  <a:off x="981026" y="1717268"/>
                  <a:ext cx="2418112" cy="2418112"/>
                </a:xfrm>
                <a:custGeom>
                  <a:avLst/>
                  <a:gdLst>
                    <a:gd name="connsiteX0" fmla="*/ 2418113 w 2418112"/>
                    <a:gd name="connsiteY0" fmla="*/ 1209056 h 2418112"/>
                    <a:gd name="connsiteX1" fmla="*/ 1209056 w 2418112"/>
                    <a:gd name="connsiteY1" fmla="*/ 2418113 h 2418112"/>
                    <a:gd name="connsiteX2" fmla="*/ 0 w 2418112"/>
                    <a:gd name="connsiteY2" fmla="*/ 1209056 h 2418112"/>
                    <a:gd name="connsiteX3" fmla="*/ 1209056 w 2418112"/>
                    <a:gd name="connsiteY3" fmla="*/ 0 h 2418112"/>
                    <a:gd name="connsiteX4" fmla="*/ 2418113 w 2418112"/>
                    <a:gd name="connsiteY4" fmla="*/ 1209056 h 2418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18112" h="2418112">
                      <a:moveTo>
                        <a:pt x="2418113" y="1209056"/>
                      </a:moveTo>
                      <a:cubicBezTo>
                        <a:pt x="2418113" y="1876800"/>
                        <a:pt x="1876800" y="2418113"/>
                        <a:pt x="1209056" y="2418113"/>
                      </a:cubicBezTo>
                      <a:cubicBezTo>
                        <a:pt x="541313" y="2418113"/>
                        <a:pt x="0" y="1876800"/>
                        <a:pt x="0" y="1209056"/>
                      </a:cubicBezTo>
                      <a:cubicBezTo>
                        <a:pt x="0" y="541313"/>
                        <a:pt x="541313" y="0"/>
                        <a:pt x="1209056" y="0"/>
                      </a:cubicBezTo>
                      <a:cubicBezTo>
                        <a:pt x="1876800" y="0"/>
                        <a:pt x="2418113" y="541313"/>
                        <a:pt x="2418113" y="120905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37" name="Forme libre : forme 14">
                  <a:extLst>
                    <a:ext uri="{FF2B5EF4-FFF2-40B4-BE49-F238E27FC236}">
                      <a16:creationId xmlns:a16="http://schemas.microsoft.com/office/drawing/2014/main" id="{8C4FFF12-47BD-9FFD-A9EA-D03E0A23E18C}"/>
                    </a:ext>
                  </a:extLst>
                </p:cNvPr>
                <p:cNvSpPr/>
                <p:nvPr/>
              </p:nvSpPr>
              <p:spPr>
                <a:xfrm>
                  <a:off x="1018763" y="1755005"/>
                  <a:ext cx="2342638" cy="2342639"/>
                </a:xfrm>
                <a:custGeom>
                  <a:avLst/>
                  <a:gdLst>
                    <a:gd name="connsiteX0" fmla="*/ 2342639 w 2342638"/>
                    <a:gd name="connsiteY0" fmla="*/ 1171320 h 2342639"/>
                    <a:gd name="connsiteX1" fmla="*/ 1171319 w 2342638"/>
                    <a:gd name="connsiteY1" fmla="*/ 2342639 h 2342639"/>
                    <a:gd name="connsiteX2" fmla="*/ 0 w 2342638"/>
                    <a:gd name="connsiteY2" fmla="*/ 1171320 h 2342639"/>
                    <a:gd name="connsiteX3" fmla="*/ 1171319 w 2342638"/>
                    <a:gd name="connsiteY3" fmla="*/ 0 h 2342639"/>
                    <a:gd name="connsiteX4" fmla="*/ 2342639 w 2342638"/>
                    <a:gd name="connsiteY4" fmla="*/ 1171320 h 2342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2638" h="2342639">
                      <a:moveTo>
                        <a:pt x="2342639" y="1171320"/>
                      </a:moveTo>
                      <a:cubicBezTo>
                        <a:pt x="2342639" y="1818221"/>
                        <a:pt x="1818221" y="2342639"/>
                        <a:pt x="1171319" y="2342639"/>
                      </a:cubicBezTo>
                      <a:cubicBezTo>
                        <a:pt x="524417" y="2342639"/>
                        <a:pt x="0" y="1818221"/>
                        <a:pt x="0" y="1171320"/>
                      </a:cubicBezTo>
                      <a:cubicBezTo>
                        <a:pt x="0" y="524418"/>
                        <a:pt x="524417" y="0"/>
                        <a:pt x="1171319" y="0"/>
                      </a:cubicBezTo>
                      <a:cubicBezTo>
                        <a:pt x="1818221" y="0"/>
                        <a:pt x="2342639" y="524418"/>
                        <a:pt x="2342639" y="1171320"/>
                      </a:cubicBezTo>
                      <a:close/>
                    </a:path>
                  </a:pathLst>
                </a:custGeom>
                <a:solidFill>
                  <a:srgbClr val="098385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8" name="Forme libre : forme 15">
                  <a:extLst>
                    <a:ext uri="{FF2B5EF4-FFF2-40B4-BE49-F238E27FC236}">
                      <a16:creationId xmlns:a16="http://schemas.microsoft.com/office/drawing/2014/main" id="{4713BDF5-0A03-F5A8-06FD-959FF4C35578}"/>
                    </a:ext>
                  </a:extLst>
                </p:cNvPr>
                <p:cNvSpPr/>
                <p:nvPr/>
              </p:nvSpPr>
              <p:spPr>
                <a:xfrm>
                  <a:off x="1140524" y="1876766"/>
                  <a:ext cx="2099117" cy="2099117"/>
                </a:xfrm>
                <a:custGeom>
                  <a:avLst/>
                  <a:gdLst>
                    <a:gd name="connsiteX0" fmla="*/ 2099118 w 2099117"/>
                    <a:gd name="connsiteY0" fmla="*/ 1049559 h 2099117"/>
                    <a:gd name="connsiteX1" fmla="*/ 1049559 w 2099117"/>
                    <a:gd name="connsiteY1" fmla="*/ 2099118 h 2099117"/>
                    <a:gd name="connsiteX2" fmla="*/ 0 w 2099117"/>
                    <a:gd name="connsiteY2" fmla="*/ 1049559 h 2099117"/>
                    <a:gd name="connsiteX3" fmla="*/ 1049559 w 2099117"/>
                    <a:gd name="connsiteY3" fmla="*/ 0 h 2099117"/>
                    <a:gd name="connsiteX4" fmla="*/ 2099118 w 2099117"/>
                    <a:gd name="connsiteY4" fmla="*/ 1049559 h 20991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99117" h="2099117">
                      <a:moveTo>
                        <a:pt x="2099118" y="1049559"/>
                      </a:moveTo>
                      <a:cubicBezTo>
                        <a:pt x="2099118" y="1629214"/>
                        <a:pt x="1629214" y="2099118"/>
                        <a:pt x="1049559" y="2099118"/>
                      </a:cubicBezTo>
                      <a:cubicBezTo>
                        <a:pt x="469904" y="2099118"/>
                        <a:pt x="0" y="1629214"/>
                        <a:pt x="0" y="1049559"/>
                      </a:cubicBezTo>
                      <a:cubicBezTo>
                        <a:pt x="0" y="469903"/>
                        <a:pt x="469904" y="0"/>
                        <a:pt x="1049559" y="0"/>
                      </a:cubicBezTo>
                      <a:cubicBezTo>
                        <a:pt x="1629214" y="0"/>
                        <a:pt x="2099118" y="469903"/>
                        <a:pt x="2099118" y="10495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9" name="Forme libre : forme 16">
                  <a:extLst>
                    <a:ext uri="{FF2B5EF4-FFF2-40B4-BE49-F238E27FC236}">
                      <a16:creationId xmlns:a16="http://schemas.microsoft.com/office/drawing/2014/main" id="{49E1100A-ABE9-317E-1F34-B112B76D417D}"/>
                    </a:ext>
                  </a:extLst>
                </p:cNvPr>
                <p:cNvSpPr/>
                <p:nvPr/>
              </p:nvSpPr>
              <p:spPr>
                <a:xfrm>
                  <a:off x="1173544" y="1909786"/>
                  <a:ext cx="2033077" cy="2033078"/>
                </a:xfrm>
                <a:custGeom>
                  <a:avLst/>
                  <a:gdLst>
                    <a:gd name="connsiteX0" fmla="*/ 2033078 w 2033077"/>
                    <a:gd name="connsiteY0" fmla="*/ 1016539 h 2033078"/>
                    <a:gd name="connsiteX1" fmla="*/ 1016539 w 2033077"/>
                    <a:gd name="connsiteY1" fmla="*/ 2033078 h 2033078"/>
                    <a:gd name="connsiteX2" fmla="*/ 0 w 2033077"/>
                    <a:gd name="connsiteY2" fmla="*/ 1016539 h 2033078"/>
                    <a:gd name="connsiteX3" fmla="*/ 1016539 w 2033077"/>
                    <a:gd name="connsiteY3" fmla="*/ 0 h 2033078"/>
                    <a:gd name="connsiteX4" fmla="*/ 2033078 w 2033077"/>
                    <a:gd name="connsiteY4" fmla="*/ 1016539 h 203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33077" h="2033078">
                      <a:moveTo>
                        <a:pt x="2033078" y="1016539"/>
                      </a:moveTo>
                      <a:cubicBezTo>
                        <a:pt x="2033078" y="1577958"/>
                        <a:pt x="1577958" y="2033078"/>
                        <a:pt x="1016539" y="2033078"/>
                      </a:cubicBezTo>
                      <a:cubicBezTo>
                        <a:pt x="455120" y="2033078"/>
                        <a:pt x="0" y="1577958"/>
                        <a:pt x="0" y="1016539"/>
                      </a:cubicBezTo>
                      <a:cubicBezTo>
                        <a:pt x="0" y="455120"/>
                        <a:pt x="455120" y="0"/>
                        <a:pt x="1016539" y="0"/>
                      </a:cubicBezTo>
                      <a:cubicBezTo>
                        <a:pt x="1577958" y="0"/>
                        <a:pt x="2033078" y="455120"/>
                        <a:pt x="2033078" y="101653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40" name="Forme libre : forme 17">
                  <a:extLst>
                    <a:ext uri="{FF2B5EF4-FFF2-40B4-BE49-F238E27FC236}">
                      <a16:creationId xmlns:a16="http://schemas.microsoft.com/office/drawing/2014/main" id="{FE7C4BFB-C04E-E79C-A385-4E9C34FF8CEA}"/>
                    </a:ext>
                  </a:extLst>
                </p:cNvPr>
                <p:cNvSpPr/>
                <p:nvPr/>
              </p:nvSpPr>
              <p:spPr>
                <a:xfrm>
                  <a:off x="1173839" y="2127068"/>
                  <a:ext cx="1788377" cy="1815795"/>
                </a:xfrm>
                <a:custGeom>
                  <a:avLst/>
                  <a:gdLst>
                    <a:gd name="connsiteX0" fmla="*/ 1160706 w 1788377"/>
                    <a:gd name="connsiteY0" fmla="*/ 1677525 h 1815795"/>
                    <a:gd name="connsiteX1" fmla="*/ 144167 w 1788377"/>
                    <a:gd name="connsiteY1" fmla="*/ 660986 h 1815795"/>
                    <a:gd name="connsiteX2" fmla="*/ 388867 w 1788377"/>
                    <a:gd name="connsiteY2" fmla="*/ 0 h 1815795"/>
                    <a:gd name="connsiteX3" fmla="*/ 0 w 1788377"/>
                    <a:gd name="connsiteY3" fmla="*/ 799257 h 1815795"/>
                    <a:gd name="connsiteX4" fmla="*/ 1016539 w 1788377"/>
                    <a:gd name="connsiteY4" fmla="*/ 1815796 h 1815795"/>
                    <a:gd name="connsiteX5" fmla="*/ 1788377 w 1788377"/>
                    <a:gd name="connsiteY5" fmla="*/ 1460243 h 1815795"/>
                    <a:gd name="connsiteX6" fmla="*/ 1160706 w 1788377"/>
                    <a:gd name="connsiteY6" fmla="*/ 1677525 h 18157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88377" h="1815795">
                      <a:moveTo>
                        <a:pt x="1160706" y="1677525"/>
                      </a:moveTo>
                      <a:cubicBezTo>
                        <a:pt x="599369" y="1677525"/>
                        <a:pt x="144167" y="1222323"/>
                        <a:pt x="144167" y="660986"/>
                      </a:cubicBezTo>
                      <a:cubicBezTo>
                        <a:pt x="144167" y="408620"/>
                        <a:pt x="236445" y="177776"/>
                        <a:pt x="388867" y="0"/>
                      </a:cubicBezTo>
                      <a:cubicBezTo>
                        <a:pt x="152127" y="186031"/>
                        <a:pt x="0" y="474955"/>
                        <a:pt x="0" y="799257"/>
                      </a:cubicBezTo>
                      <a:cubicBezTo>
                        <a:pt x="0" y="1360594"/>
                        <a:pt x="455202" y="1815796"/>
                        <a:pt x="1016539" y="1815796"/>
                      </a:cubicBezTo>
                      <a:cubicBezTo>
                        <a:pt x="1325510" y="1815796"/>
                        <a:pt x="1602051" y="1677820"/>
                        <a:pt x="1788377" y="1460243"/>
                      </a:cubicBezTo>
                      <a:cubicBezTo>
                        <a:pt x="1615318" y="1596155"/>
                        <a:pt x="1397446" y="1677525"/>
                        <a:pt x="1160706" y="1677525"/>
                      </a:cubicBezTo>
                      <a:close/>
                    </a:path>
                  </a:pathLst>
                </a:custGeom>
                <a:solidFill>
                  <a:srgbClr val="EAE2D8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grpSp>
              <p:nvGrpSpPr>
                <p:cNvPr id="41" name="Graphique 2">
                  <a:extLst>
                    <a:ext uri="{FF2B5EF4-FFF2-40B4-BE49-F238E27FC236}">
                      <a16:creationId xmlns:a16="http://schemas.microsoft.com/office/drawing/2014/main" id="{635E1F63-47E5-D700-0DB2-49BD336207F3}"/>
                    </a:ext>
                  </a:extLst>
                </p:cNvPr>
                <p:cNvGrpSpPr/>
                <p:nvPr/>
              </p:nvGrpSpPr>
              <p:grpSpPr>
                <a:xfrm>
                  <a:off x="1233687" y="1970224"/>
                  <a:ext cx="1912791" cy="1912496"/>
                  <a:chOff x="1233687" y="1970224"/>
                  <a:chExt cx="1912791" cy="1912496"/>
                </a:xfrm>
                <a:solidFill>
                  <a:srgbClr val="07636C"/>
                </a:solidFill>
              </p:grpSpPr>
              <p:sp>
                <p:nvSpPr>
                  <p:cNvPr id="53" name="Forme libre : forme 28">
                    <a:extLst>
                      <a:ext uri="{FF2B5EF4-FFF2-40B4-BE49-F238E27FC236}">
                        <a16:creationId xmlns:a16="http://schemas.microsoft.com/office/drawing/2014/main" id="{260F0EF2-2997-1689-A0D5-FD391D782EB8}"/>
                      </a:ext>
                    </a:extLst>
                  </p:cNvPr>
                  <p:cNvSpPr/>
                  <p:nvPr/>
                </p:nvSpPr>
                <p:spPr>
                  <a:xfrm>
                    <a:off x="2129940" y="1970224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6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6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6"/>
                        </a:moveTo>
                        <a:cubicBezTo>
                          <a:pt x="27123" y="120286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163"/>
                          <a:pt x="93163" y="120286"/>
                          <a:pt x="60143" y="120286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4" name="Forme libre : forme 29">
                    <a:extLst>
                      <a:ext uri="{FF2B5EF4-FFF2-40B4-BE49-F238E27FC236}">
                        <a16:creationId xmlns:a16="http://schemas.microsoft.com/office/drawing/2014/main" id="{0A2A9F4C-C5D9-99B6-C716-B62E6EE5E41C}"/>
                      </a:ext>
                    </a:extLst>
                  </p:cNvPr>
                  <p:cNvSpPr/>
                  <p:nvPr/>
                </p:nvSpPr>
                <p:spPr>
                  <a:xfrm>
                    <a:off x="1233687" y="2866182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6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6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6"/>
                        </a:moveTo>
                        <a:cubicBezTo>
                          <a:pt x="27123" y="120286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163"/>
                          <a:pt x="93458" y="120286"/>
                          <a:pt x="60143" y="120286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6" name="Forme libre : forme 30">
                    <a:extLst>
                      <a:ext uri="{FF2B5EF4-FFF2-40B4-BE49-F238E27FC236}">
                        <a16:creationId xmlns:a16="http://schemas.microsoft.com/office/drawing/2014/main" id="{C520DB83-76D9-0A95-162B-64F470AB0793}"/>
                      </a:ext>
                    </a:extLst>
                  </p:cNvPr>
                  <p:cNvSpPr/>
                  <p:nvPr/>
                </p:nvSpPr>
                <p:spPr>
                  <a:xfrm>
                    <a:off x="2129940" y="3762434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7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7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7"/>
                        </a:moveTo>
                        <a:cubicBezTo>
                          <a:pt x="27123" y="120287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458"/>
                          <a:pt x="93163" y="120287"/>
                          <a:pt x="60143" y="120287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7" name="Forme libre : forme 31">
                    <a:extLst>
                      <a:ext uri="{FF2B5EF4-FFF2-40B4-BE49-F238E27FC236}">
                        <a16:creationId xmlns:a16="http://schemas.microsoft.com/office/drawing/2014/main" id="{B409B122-3707-02B3-86E3-4EF7474DACC3}"/>
                      </a:ext>
                    </a:extLst>
                  </p:cNvPr>
                  <p:cNvSpPr/>
                  <p:nvPr/>
                </p:nvSpPr>
                <p:spPr>
                  <a:xfrm>
                    <a:off x="3026192" y="2866182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6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6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6"/>
                        </a:moveTo>
                        <a:cubicBezTo>
                          <a:pt x="27123" y="120286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163"/>
                          <a:pt x="93163" y="120286"/>
                          <a:pt x="60143" y="120286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</p:grpSp>
            <p:grpSp>
              <p:nvGrpSpPr>
                <p:cNvPr id="42" name="Graphique 2">
                  <a:extLst>
                    <a:ext uri="{FF2B5EF4-FFF2-40B4-BE49-F238E27FC236}">
                      <a16:creationId xmlns:a16="http://schemas.microsoft.com/office/drawing/2014/main" id="{8FBA1365-597E-B82A-9B86-8018B808607E}"/>
                    </a:ext>
                  </a:extLst>
                </p:cNvPr>
                <p:cNvGrpSpPr/>
                <p:nvPr/>
              </p:nvGrpSpPr>
              <p:grpSpPr>
                <a:xfrm>
                  <a:off x="1371663" y="2108200"/>
                  <a:ext cx="1636545" cy="1636545"/>
                  <a:chOff x="1371663" y="2108200"/>
                  <a:chExt cx="1636545" cy="1636545"/>
                </a:xfrm>
                <a:solidFill>
                  <a:srgbClr val="0B9392"/>
                </a:solidFill>
              </p:grpSpPr>
              <p:sp>
                <p:nvSpPr>
                  <p:cNvPr id="43" name="Forme libre : forme 20">
                    <a:extLst>
                      <a:ext uri="{FF2B5EF4-FFF2-40B4-BE49-F238E27FC236}">
                        <a16:creationId xmlns:a16="http://schemas.microsoft.com/office/drawing/2014/main" id="{687E4C5B-EDC6-7AD5-14D9-0DAFDCA10A19}"/>
                      </a:ext>
                    </a:extLst>
                  </p:cNvPr>
                  <p:cNvSpPr/>
                  <p:nvPr/>
                </p:nvSpPr>
                <p:spPr>
                  <a:xfrm>
                    <a:off x="1699797" y="2108200"/>
                    <a:ext cx="84318" cy="84318"/>
                  </a:xfrm>
                  <a:custGeom>
                    <a:avLst/>
                    <a:gdLst>
                      <a:gd name="connsiteX0" fmla="*/ 84318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8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8" y="42159"/>
                        </a:moveTo>
                        <a:cubicBezTo>
                          <a:pt x="84318" y="65443"/>
                          <a:pt x="65443" y="84318"/>
                          <a:pt x="42159" y="84318"/>
                        </a:cubicBezTo>
                        <a:cubicBezTo>
                          <a:pt x="18875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8" y="18875"/>
                          <a:pt x="84318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6" name="Forme libre : forme 21">
                    <a:extLst>
                      <a:ext uri="{FF2B5EF4-FFF2-40B4-BE49-F238E27FC236}">
                        <a16:creationId xmlns:a16="http://schemas.microsoft.com/office/drawing/2014/main" id="{1B78BA3F-81F1-0A3A-FCAD-D1FB7881832F}"/>
                      </a:ext>
                    </a:extLst>
                  </p:cNvPr>
                  <p:cNvSpPr/>
                  <p:nvPr/>
                </p:nvSpPr>
                <p:spPr>
                  <a:xfrm>
                    <a:off x="1371663" y="2436334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8"/>
                          <a:pt x="42159" y="84318"/>
                        </a:cubicBezTo>
                        <a:cubicBezTo>
                          <a:pt x="18875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7" name="Forme libre : forme 22">
                    <a:extLst>
                      <a:ext uri="{FF2B5EF4-FFF2-40B4-BE49-F238E27FC236}">
                        <a16:creationId xmlns:a16="http://schemas.microsoft.com/office/drawing/2014/main" id="{3F1AC2DB-49BD-0CD9-FF25-AD25C5C88FA8}"/>
                      </a:ext>
                    </a:extLst>
                  </p:cNvPr>
                  <p:cNvSpPr/>
                  <p:nvPr/>
                </p:nvSpPr>
                <p:spPr>
                  <a:xfrm>
                    <a:off x="1371663" y="3332292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9"/>
                          <a:pt x="42159" y="84319"/>
                        </a:cubicBezTo>
                        <a:cubicBezTo>
                          <a:pt x="18875" y="84319"/>
                          <a:pt x="0" y="65443"/>
                          <a:pt x="0" y="42159"/>
                        </a:cubicBezTo>
                        <a:cubicBezTo>
                          <a:pt x="0" y="18876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6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8" name="Forme libre : forme 23">
                    <a:extLst>
                      <a:ext uri="{FF2B5EF4-FFF2-40B4-BE49-F238E27FC236}">
                        <a16:creationId xmlns:a16="http://schemas.microsoft.com/office/drawing/2014/main" id="{777BB6F9-1E47-E11B-B0E2-DDEE7E2C2363}"/>
                      </a:ext>
                    </a:extLst>
                  </p:cNvPr>
                  <p:cNvSpPr/>
                  <p:nvPr/>
                </p:nvSpPr>
                <p:spPr>
                  <a:xfrm>
                    <a:off x="1699797" y="3660426"/>
                    <a:ext cx="84318" cy="84318"/>
                  </a:xfrm>
                  <a:custGeom>
                    <a:avLst/>
                    <a:gdLst>
                      <a:gd name="connsiteX0" fmla="*/ 84318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8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8" y="42159"/>
                        </a:moveTo>
                        <a:cubicBezTo>
                          <a:pt x="84318" y="65443"/>
                          <a:pt x="65443" y="84319"/>
                          <a:pt x="42159" y="84319"/>
                        </a:cubicBezTo>
                        <a:cubicBezTo>
                          <a:pt x="18875" y="84319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8" y="18875"/>
                          <a:pt x="84318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9" name="Forme libre : forme 24">
                    <a:extLst>
                      <a:ext uri="{FF2B5EF4-FFF2-40B4-BE49-F238E27FC236}">
                        <a16:creationId xmlns:a16="http://schemas.microsoft.com/office/drawing/2014/main" id="{A5901568-A872-9689-B3B3-00DC254B60C9}"/>
                      </a:ext>
                    </a:extLst>
                  </p:cNvPr>
                  <p:cNvSpPr/>
                  <p:nvPr/>
                </p:nvSpPr>
                <p:spPr>
                  <a:xfrm>
                    <a:off x="2596050" y="3660426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9"/>
                          <a:pt x="42159" y="84319"/>
                        </a:cubicBezTo>
                        <a:cubicBezTo>
                          <a:pt x="18875" y="84319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0" name="Forme libre : forme 25">
                    <a:extLst>
                      <a:ext uri="{FF2B5EF4-FFF2-40B4-BE49-F238E27FC236}">
                        <a16:creationId xmlns:a16="http://schemas.microsoft.com/office/drawing/2014/main" id="{C9BEC6D1-97B8-2652-0328-1F6404EB8DEF}"/>
                      </a:ext>
                    </a:extLst>
                  </p:cNvPr>
                  <p:cNvSpPr/>
                  <p:nvPr/>
                </p:nvSpPr>
                <p:spPr>
                  <a:xfrm>
                    <a:off x="2923890" y="3332292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9"/>
                          <a:pt x="42159" y="84319"/>
                        </a:cubicBezTo>
                        <a:cubicBezTo>
                          <a:pt x="18876" y="84319"/>
                          <a:pt x="0" y="65443"/>
                          <a:pt x="0" y="42159"/>
                        </a:cubicBezTo>
                        <a:cubicBezTo>
                          <a:pt x="0" y="18876"/>
                          <a:pt x="18876" y="0"/>
                          <a:pt x="42159" y="0"/>
                        </a:cubicBezTo>
                        <a:cubicBezTo>
                          <a:pt x="65443" y="0"/>
                          <a:pt x="84319" y="18876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1" name="Forme libre : forme 26">
                    <a:extLst>
                      <a:ext uri="{FF2B5EF4-FFF2-40B4-BE49-F238E27FC236}">
                        <a16:creationId xmlns:a16="http://schemas.microsoft.com/office/drawing/2014/main" id="{F80547C1-EA10-FBC2-243F-28F0B8C54A9A}"/>
                      </a:ext>
                    </a:extLst>
                  </p:cNvPr>
                  <p:cNvSpPr/>
                  <p:nvPr/>
                </p:nvSpPr>
                <p:spPr>
                  <a:xfrm>
                    <a:off x="2923890" y="2436334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8"/>
                          <a:pt x="42159" y="84318"/>
                        </a:cubicBezTo>
                        <a:cubicBezTo>
                          <a:pt x="18876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6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2" name="Forme libre : forme 27">
                    <a:extLst>
                      <a:ext uri="{FF2B5EF4-FFF2-40B4-BE49-F238E27FC236}">
                        <a16:creationId xmlns:a16="http://schemas.microsoft.com/office/drawing/2014/main" id="{62FA8562-58E8-A436-8AF3-3AECBA7D4742}"/>
                      </a:ext>
                    </a:extLst>
                  </p:cNvPr>
                  <p:cNvSpPr/>
                  <p:nvPr/>
                </p:nvSpPr>
                <p:spPr>
                  <a:xfrm>
                    <a:off x="2596050" y="2108200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8"/>
                          <a:pt x="42159" y="84318"/>
                        </a:cubicBezTo>
                        <a:cubicBezTo>
                          <a:pt x="18875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</p:grpSp>
          </p:grpSp>
          <p:sp>
            <p:nvSpPr>
              <p:cNvPr id="32" name="ZoneTexte 9">
                <a:extLst>
                  <a:ext uri="{FF2B5EF4-FFF2-40B4-BE49-F238E27FC236}">
                    <a16:creationId xmlns:a16="http://schemas.microsoft.com/office/drawing/2014/main" id="{C33765A6-8DB6-ABC5-CF5A-71B525F1D4DC}"/>
                  </a:ext>
                </a:extLst>
              </p:cNvPr>
              <p:cNvSpPr txBox="1"/>
              <p:nvPr/>
            </p:nvSpPr>
            <p:spPr>
              <a:xfrm>
                <a:off x="1349516" y="2029815"/>
                <a:ext cx="406114" cy="2827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rtl="1"/>
                <a:r>
                  <a:rPr lang="ar-MA" sz="2000" b="1" dirty="0">
                    <a:solidFill>
                      <a:srgbClr val="005664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Microsoft Uighur" panose="02000000000000000000" pitchFamily="2" charset="-78"/>
                    <a:cs typeface="Microsoft Uighur" panose="02000000000000000000" pitchFamily="2" charset="-78"/>
                  </a:rPr>
                  <a:t>55</a:t>
                </a:r>
                <a:endParaRPr lang="fr-MA" sz="2000" b="1" dirty="0">
                  <a:solidFill>
                    <a:srgbClr val="00566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icrosoft Uighur" panose="02000000000000000000" pitchFamily="2" charset="-78"/>
                  <a:cs typeface="Microsoft Uighur" panose="02000000000000000000" pitchFamily="2" charset="-78"/>
                </a:endParaRPr>
              </a:p>
            </p:txBody>
          </p:sp>
          <p:sp>
            <p:nvSpPr>
              <p:cNvPr id="33" name="ZoneTexte 10">
                <a:extLst>
                  <a:ext uri="{FF2B5EF4-FFF2-40B4-BE49-F238E27FC236}">
                    <a16:creationId xmlns:a16="http://schemas.microsoft.com/office/drawing/2014/main" id="{BE7A87CD-81CA-51B3-6BD5-D3367498AC07}"/>
                  </a:ext>
                </a:extLst>
              </p:cNvPr>
              <p:cNvSpPr txBox="1"/>
              <p:nvPr/>
            </p:nvSpPr>
            <p:spPr>
              <a:xfrm>
                <a:off x="1240960" y="2305858"/>
                <a:ext cx="625769" cy="3262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rtl="1"/>
                <a:r>
                  <a:rPr lang="ar-MA" sz="24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دقيقة</a:t>
                </a:r>
                <a:endParaRPr lang="fr-MA" sz="2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276623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004D84-7126-99B8-B221-4F062ECE5D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CF6B0009-2325-2EEA-EC8A-A0F3BC56CEB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A5882628-4CD1-336F-567A-9CA7C6240979}"/>
              </a:ext>
            </a:extLst>
          </p:cNvPr>
          <p:cNvSpPr txBox="1"/>
          <p:nvPr/>
        </p:nvSpPr>
        <p:spPr>
          <a:xfrm>
            <a:off x="803416" y="539311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قوموا بعد الأقراص، وأكملوا تفكيك العددين 3 و2. كما في المثال.</a:t>
            </a:r>
            <a:r>
              <a:rPr lang="fr-FR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مر بين الصفوف لمساعدتكم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BA06459D-8AD4-7EDF-60AB-AD6DA52951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7" y="2016730"/>
            <a:ext cx="8353493" cy="3530964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8983D232-9F6D-EF83-FC78-D37B313F2897}"/>
              </a:ext>
            </a:extLst>
          </p:cNvPr>
          <p:cNvSpPr/>
          <p:nvPr/>
        </p:nvSpPr>
        <p:spPr>
          <a:xfrm>
            <a:off x="3356811" y="2566557"/>
            <a:ext cx="5281864" cy="2679211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7D4726B-8219-8991-8A4D-ED37E660C4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3923" y="4393316"/>
            <a:ext cx="276225" cy="28575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898ABDA7-2305-EB17-9895-8D23695CDF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7744" y="4411572"/>
            <a:ext cx="161925" cy="295275"/>
          </a:xfrm>
          <a:prstGeom prst="rect">
            <a:avLst/>
          </a:prstGeom>
        </p:spPr>
      </p:pic>
      <p:sp>
        <p:nvSpPr>
          <p:cNvPr id="2" name="Flèche : bas 1">
            <a:extLst>
              <a:ext uri="{FF2B5EF4-FFF2-40B4-BE49-F238E27FC236}">
                <a16:creationId xmlns:a16="http://schemas.microsoft.com/office/drawing/2014/main" id="{E3287BD5-C6CA-F963-5CE5-9DBB1C2199BE}"/>
              </a:ext>
            </a:extLst>
          </p:cNvPr>
          <p:cNvSpPr/>
          <p:nvPr/>
        </p:nvSpPr>
        <p:spPr>
          <a:xfrm>
            <a:off x="6120081" y="2016730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B4C47C5-0706-EFBD-EF62-703355CB3D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1956038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2607069-60DF-B118-FDCB-4995EF2EED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CF261792-A673-F477-DB4C-9CC29AC3FE7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F2C88C05-5B2C-0F19-24D1-B7749A3A0729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6D3753DD-4A15-BC91-2E80-5F80965E5C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1651941-7236-EEAB-C696-8BE32D0402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8" y="2016730"/>
            <a:ext cx="8343660" cy="353096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44E2A91-6434-CA01-B0CE-91BCD5A207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54386" y="4402428"/>
            <a:ext cx="276225" cy="28575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F3678AB-B861-8B64-018E-85F93B67E5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37754" y="4404659"/>
            <a:ext cx="161925" cy="295275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65EB655-9F56-F30D-B213-F33677E76C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17680" y="4404659"/>
            <a:ext cx="161925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84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7FC0D-F386-3377-7F0C-D39DF5771C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8BBB3691-246B-96FA-37BA-6FE771889FCA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4B9491D0-B291-D9EA-658C-EF0E1FC66E54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346EBC9-4F2C-B60B-634D-66FA694C9CE1}"/>
              </a:ext>
            </a:extLst>
          </p:cNvPr>
          <p:cNvSpPr txBox="1"/>
          <p:nvPr/>
        </p:nvSpPr>
        <p:spPr>
          <a:xfrm>
            <a:off x="1187624" y="230809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 النشاط الرئيسي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6C5BE00B-1886-F465-D216-6F796976D94F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E57E8D48-8C69-6DF2-6E67-F682F30B7644}"/>
              </a:ext>
            </a:extLst>
          </p:cNvPr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C30236-B447-B169-9405-9DC9EF6FBA2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476472" y="3396921"/>
            <a:ext cx="2191056" cy="236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95352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59391A7-56A4-5531-97EF-F686B5D880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82E7B1E3-FE5C-E85C-BBC5-3F23CEF7A53C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8C8ECF37-C153-40B9-E302-088C025F2CF1}"/>
              </a:ext>
            </a:extLst>
          </p:cNvPr>
          <p:cNvSpPr txBox="1"/>
          <p:nvPr/>
        </p:nvSpPr>
        <p:spPr>
          <a:xfrm>
            <a:off x="304801" y="529064"/>
            <a:ext cx="8092279" cy="379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ننتقل الآن إلى النشاط الرئيسي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4E343FD-CA2C-B54A-BB5D-56AB899E082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F5552D54-56AD-DAE5-6DFF-CC625CAFCF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6932" y="2900830"/>
            <a:ext cx="7890148" cy="2274362"/>
          </a:xfrm>
          <a:prstGeom prst="rect">
            <a:avLst/>
          </a:prstGeom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952CC27-6EC9-ACD6-1D17-286356C6FE08}"/>
              </a:ext>
            </a:extLst>
          </p:cNvPr>
          <p:cNvSpPr/>
          <p:nvPr/>
        </p:nvSpPr>
        <p:spPr>
          <a:xfrm>
            <a:off x="304801" y="2900829"/>
            <a:ext cx="8294409" cy="2441191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42793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8A9025F-5269-ABB9-AB29-43B336415C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3EF39F5-D9DA-211D-2EDB-59112336C508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29AD50D3-BAEC-8652-8A88-F347A09E6F0A}"/>
              </a:ext>
            </a:extLst>
          </p:cNvPr>
          <p:cNvSpPr txBox="1"/>
          <p:nvPr/>
        </p:nvSpPr>
        <p:spPr>
          <a:xfrm>
            <a:off x="304801" y="529064"/>
            <a:ext cx="8092279" cy="379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سأقوم بتفكيك العدد 3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3C42DC2-D7B2-3E61-18BF-686A7D56BD7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5B0492E-78D1-B28F-E074-F1C0360E39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6932" y="2900830"/>
            <a:ext cx="7890148" cy="2274362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B966FAB3-A5BD-496F-B206-A7DDD74F1746}"/>
              </a:ext>
            </a:extLst>
          </p:cNvPr>
          <p:cNvSpPr/>
          <p:nvPr/>
        </p:nvSpPr>
        <p:spPr>
          <a:xfrm>
            <a:off x="1187624" y="3284985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lèche : bas 9">
            <a:extLst>
              <a:ext uri="{FF2B5EF4-FFF2-40B4-BE49-F238E27FC236}">
                <a16:creationId xmlns:a16="http://schemas.microsoft.com/office/drawing/2014/main" id="{630EBFFF-6035-087D-C3A0-DF7BB17CD488}"/>
              </a:ext>
            </a:extLst>
          </p:cNvPr>
          <p:cNvSpPr/>
          <p:nvPr/>
        </p:nvSpPr>
        <p:spPr>
          <a:xfrm>
            <a:off x="1691680" y="2396136"/>
            <a:ext cx="504056" cy="64907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901651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F3FBD9B-CD34-4D1F-A528-8B26606F68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21A1B7-0E8D-8A0A-D59C-A4A13AE7AD9C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D3898ADB-2ADE-11B0-5942-35277D5B5EBB}"/>
              </a:ext>
            </a:extLst>
          </p:cNvPr>
          <p:cNvSpPr txBox="1"/>
          <p:nvPr/>
        </p:nvSpPr>
        <p:spPr>
          <a:xfrm>
            <a:off x="304801" y="465809"/>
            <a:ext cx="8092279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تفكيك العدد 3 إلى 1 و2. نكتب 1 في الدائرة الحمراء.</a:t>
            </a:r>
          </a:p>
          <a:p>
            <a:pPr algn="r" rtl="1"/>
            <a:r>
              <a:rPr lang="ar-MA" i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أن يستعين الأستاذ بالمكعبات لنمذجة التفكيك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B59EAA76-685E-DA41-7E7A-557577C1C91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D07461D-3803-6D34-C75F-2FD0E364A5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9982" y="2900830"/>
            <a:ext cx="7884048" cy="2274362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1EA74E2-E0E6-46A1-5C38-AD9FE0427CC1}"/>
              </a:ext>
            </a:extLst>
          </p:cNvPr>
          <p:cNvSpPr/>
          <p:nvPr/>
        </p:nvSpPr>
        <p:spPr>
          <a:xfrm>
            <a:off x="1187624" y="3284985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9A00757-E278-F155-2513-7D764A47EF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9634" y="4337111"/>
            <a:ext cx="161925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308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B1DF04D-A4B7-B021-8404-05A4724AB0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07C93A96-18D9-5B3F-F13C-874B5F539784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3B51BC48-2900-528A-776B-8FD7BE33C02A}"/>
              </a:ext>
            </a:extLst>
          </p:cNvPr>
          <p:cNvSpPr txBox="1"/>
          <p:nvPr/>
        </p:nvSpPr>
        <p:spPr>
          <a:xfrm>
            <a:off x="304801" y="465809"/>
            <a:ext cx="8092279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ونكتب 2 في الدائرة الزرقاء. العدد 3 هو 1 و2.</a:t>
            </a:r>
          </a:p>
          <a:p>
            <a:pPr algn="r" rtl="1"/>
            <a:r>
              <a:rPr lang="ar-MA" i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أن يستعين الأستاذ بالمكعبات لنمذجة التفكيك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75FFF3F-F6EF-ED75-9277-8967538197C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9BF07C6-8D2E-C170-7D0F-E34A2A743F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9982" y="2900830"/>
            <a:ext cx="7884048" cy="2274362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BDF7612E-B4AE-3B50-70EE-1582F438A69A}"/>
              </a:ext>
            </a:extLst>
          </p:cNvPr>
          <p:cNvSpPr/>
          <p:nvPr/>
        </p:nvSpPr>
        <p:spPr>
          <a:xfrm>
            <a:off x="1187624" y="3284985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678FFDC-293C-F771-9261-038799AD49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9634" y="4337111"/>
            <a:ext cx="161925" cy="295275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23D2F320-C8C3-8C08-6D65-51922CAC60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78548" y="4332641"/>
            <a:ext cx="276225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12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2953363-631A-F6E4-13BB-B3CB6D61BB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213182F-AFA0-16D1-95CF-E86BF7187BA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8DF61F5-1885-9CE6-3958-2708A9778C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B89586A4-277F-0D19-2BD1-FECAC12BFD42}"/>
              </a:ext>
            </a:extLst>
          </p:cNvPr>
          <p:cNvSpPr txBox="1"/>
          <p:nvPr/>
        </p:nvSpPr>
        <p:spPr>
          <a:xfrm>
            <a:off x="4067944" y="1988840"/>
            <a:ext cx="1367682" cy="3154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MA" sz="19900" b="1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7" name="ZoneTexte 4">
            <a:extLst>
              <a:ext uri="{FF2B5EF4-FFF2-40B4-BE49-F238E27FC236}">
                <a16:creationId xmlns:a16="http://schemas.microsoft.com/office/drawing/2014/main" id="{88A82FB8-6394-3A45-537A-EBFDB0AA9197}"/>
              </a:ext>
            </a:extLst>
          </p:cNvPr>
          <p:cNvSpPr txBox="1"/>
          <p:nvPr/>
        </p:nvSpPr>
        <p:spPr>
          <a:xfrm>
            <a:off x="304801" y="539388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نبغي أن نتذكر تفكيك العددين 2 و3؟   العدد 2 هو ... و... ؟</a:t>
            </a:r>
          </a:p>
        </p:txBody>
      </p:sp>
    </p:spTree>
    <p:extLst>
      <p:ext uri="{BB962C8B-B14F-4D97-AF65-F5344CB8AC3E}">
        <p14:creationId xmlns:p14="http://schemas.microsoft.com/office/powerpoint/2010/main" val="103786795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5FE2031-1206-F977-0282-45F9BEBD0F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C3AF0AE3-4CFA-79A5-761A-334A19594A1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D8B9D85F-E511-C875-9CCE-ED2A65DEEE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sp>
        <p:nvSpPr>
          <p:cNvPr id="2" name="ZoneTexte 4">
            <a:extLst>
              <a:ext uri="{FF2B5EF4-FFF2-40B4-BE49-F238E27FC236}">
                <a16:creationId xmlns:a16="http://schemas.microsoft.com/office/drawing/2014/main" id="{FE667980-5852-A4E1-CFAD-C55C6FE630C6}"/>
              </a:ext>
            </a:extLst>
          </p:cNvPr>
          <p:cNvSpPr txBox="1"/>
          <p:nvPr/>
        </p:nvSpPr>
        <p:spPr>
          <a:xfrm>
            <a:off x="304801" y="539388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عم. العدد 2 هو 1 و1. والعدد 3 هو ... و...؟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8D53BD-D2D6-DDA7-869D-02B8454299A6}"/>
              </a:ext>
            </a:extLst>
          </p:cNvPr>
          <p:cNvCxnSpPr/>
          <p:nvPr/>
        </p:nvCxnSpPr>
        <p:spPr>
          <a:xfrm>
            <a:off x="3272495" y="3018496"/>
            <a:ext cx="0" cy="184083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6">
            <a:extLst>
              <a:ext uri="{FF2B5EF4-FFF2-40B4-BE49-F238E27FC236}">
                <a16:creationId xmlns:a16="http://schemas.microsoft.com/office/drawing/2014/main" id="{9CB9CC6D-B332-7B64-F976-A418F4CBD8C6}"/>
              </a:ext>
            </a:extLst>
          </p:cNvPr>
          <p:cNvGrpSpPr/>
          <p:nvPr/>
        </p:nvGrpSpPr>
        <p:grpSpPr>
          <a:xfrm>
            <a:off x="442449" y="2744630"/>
            <a:ext cx="2393281" cy="2114697"/>
            <a:chOff x="6352673" y="2371651"/>
            <a:chExt cx="2393281" cy="2114697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71169F7D-F462-2CD3-4CD5-5B92FAB6D1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5C7EC4EF-CE9B-AAE0-07FE-78E2544CC1F2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/>
                <a:t>2</a:t>
              </a:r>
              <a:endParaRPr lang="fr-FR" sz="5400"/>
            </a:p>
          </p:txBody>
        </p: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6CB7FE3A-5C31-5C79-05F4-6EED9AD99F11}"/>
                </a:ext>
              </a:extLst>
            </p:cNvPr>
            <p:cNvSpPr txBox="1"/>
            <p:nvPr/>
          </p:nvSpPr>
          <p:spPr>
            <a:xfrm>
              <a:off x="6546852" y="3556263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480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1FB4B6B1-5800-E791-125B-98CC75B558A2}"/>
                </a:ext>
              </a:extLst>
            </p:cNvPr>
            <p:cNvSpPr txBox="1"/>
            <p:nvPr/>
          </p:nvSpPr>
          <p:spPr>
            <a:xfrm>
              <a:off x="7981236" y="3556263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3170402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42786FF-02D5-A833-833D-3C9FA65622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C0568982-7DE2-2930-8F46-9AE6AA43614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CEFD55EA-114B-3238-9629-17950384CE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sp>
        <p:nvSpPr>
          <p:cNvPr id="2" name="ZoneTexte 4">
            <a:extLst>
              <a:ext uri="{FF2B5EF4-FFF2-40B4-BE49-F238E27FC236}">
                <a16:creationId xmlns:a16="http://schemas.microsoft.com/office/drawing/2014/main" id="{C5B9B446-6270-6C41-1EE9-9AF9F7309EE8}"/>
              </a:ext>
            </a:extLst>
          </p:cNvPr>
          <p:cNvSpPr txBox="1"/>
          <p:nvPr/>
        </p:nvSpPr>
        <p:spPr>
          <a:xfrm>
            <a:off x="304801" y="446855"/>
            <a:ext cx="8092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عم. العدد 3 هو 1 و2.</a:t>
            </a:r>
          </a:p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والعدد 3 أيضا هو 2 و1.</a:t>
            </a: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1C1B722E-60F4-1EAB-CF2F-5C04207E2C0A}"/>
              </a:ext>
            </a:extLst>
          </p:cNvPr>
          <p:cNvGrpSpPr/>
          <p:nvPr/>
        </p:nvGrpSpPr>
        <p:grpSpPr>
          <a:xfrm>
            <a:off x="3676467" y="2718503"/>
            <a:ext cx="2393281" cy="2148727"/>
            <a:chOff x="3270314" y="2439712"/>
            <a:chExt cx="2393281" cy="2148727"/>
          </a:xfrm>
        </p:grpSpPr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97A259A9-EE54-8C23-537A-1A9B92B6A6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70314" y="2439712"/>
              <a:ext cx="2393281" cy="2114697"/>
            </a:xfrm>
            <a:prstGeom prst="rect">
              <a:avLst/>
            </a:prstGeom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F592F481-8B21-6AB0-160C-737859637C19}"/>
                </a:ext>
              </a:extLst>
            </p:cNvPr>
            <p:cNvSpPr txBox="1"/>
            <p:nvPr/>
          </p:nvSpPr>
          <p:spPr>
            <a:xfrm>
              <a:off x="4204838" y="2463776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3</a:t>
              </a:r>
              <a:endParaRPr lang="fr-FR" sz="5400" dirty="0"/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AF9365B5-B80A-C904-C772-028EE7B7BF9E}"/>
                </a:ext>
              </a:extLst>
            </p:cNvPr>
            <p:cNvSpPr txBox="1"/>
            <p:nvPr/>
          </p:nvSpPr>
          <p:spPr>
            <a:xfrm>
              <a:off x="3489482" y="3757442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>
                  <a:solidFill>
                    <a:srgbClr val="0070C0"/>
                  </a:solidFill>
                  <a:latin typeface="BelleAllureCE" panose="02000803000000000000" pitchFamily="50" charset="0"/>
                </a:rPr>
                <a:t>1</a:t>
              </a:r>
              <a:endParaRPr lang="fr-FR" sz="4800" dirty="0">
                <a:solidFill>
                  <a:srgbClr val="0070C0"/>
                </a:solidFill>
                <a:latin typeface="BelleAllureCE" panose="02000803000000000000" pitchFamily="50" charset="0"/>
              </a:endParaRP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14DCDDCB-8BAA-33ED-D227-6F00B9208851}"/>
                </a:ext>
              </a:extLst>
            </p:cNvPr>
            <p:cNvSpPr txBox="1"/>
            <p:nvPr/>
          </p:nvSpPr>
          <p:spPr>
            <a:xfrm>
              <a:off x="4918289" y="3757441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>
                  <a:solidFill>
                    <a:srgbClr val="0070C0"/>
                  </a:solidFill>
                  <a:latin typeface="BelleAllureCE" panose="02000803000000000000" pitchFamily="50" charset="0"/>
                </a:rPr>
                <a:t>2</a:t>
              </a:r>
              <a:endParaRPr lang="fr-FR" sz="4800">
                <a:solidFill>
                  <a:srgbClr val="0070C0"/>
                </a:solidFill>
                <a:latin typeface="BelleAllureCE" panose="02000803000000000000" pitchFamily="50" charset="0"/>
              </a:endParaRPr>
            </a:p>
          </p:txBody>
        </p:sp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6BC095CB-D026-70AA-F39D-30D303DF6B64}"/>
              </a:ext>
            </a:extLst>
          </p:cNvPr>
          <p:cNvGrpSpPr/>
          <p:nvPr/>
        </p:nvGrpSpPr>
        <p:grpSpPr>
          <a:xfrm>
            <a:off x="6288916" y="2718503"/>
            <a:ext cx="2393281" cy="2114697"/>
            <a:chOff x="392974" y="2439712"/>
            <a:chExt cx="2393281" cy="2114697"/>
          </a:xfrm>
        </p:grpSpPr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B4A14AA-BE20-B3CE-9DE2-D3C184D1E29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2974" y="2439712"/>
              <a:ext cx="2393281" cy="2114697"/>
            </a:xfrm>
            <a:prstGeom prst="rect">
              <a:avLst/>
            </a:prstGeom>
          </p:spPr>
        </p:pic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8FFE7F5B-B338-D82C-A497-CDE915924411}"/>
                </a:ext>
              </a:extLst>
            </p:cNvPr>
            <p:cNvGrpSpPr/>
            <p:nvPr/>
          </p:nvGrpSpPr>
          <p:grpSpPr>
            <a:xfrm>
              <a:off x="617512" y="2463776"/>
              <a:ext cx="2052269" cy="2090633"/>
              <a:chOff x="617512" y="2463776"/>
              <a:chExt cx="2052269" cy="2090633"/>
            </a:xfrm>
          </p:grpSpPr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78F7BD16-0430-2D07-5DA0-708AE7FC44F4}"/>
                  </a:ext>
                </a:extLst>
              </p:cNvPr>
              <p:cNvSpPr txBox="1"/>
              <p:nvPr/>
            </p:nvSpPr>
            <p:spPr>
              <a:xfrm>
                <a:off x="1327498" y="2463776"/>
                <a:ext cx="476103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ar-MA" sz="5400"/>
                  <a:t>3</a:t>
                </a:r>
                <a:endParaRPr lang="fr-FR" sz="5400"/>
              </a:p>
            </p:txBody>
          </p:sp>
          <p:sp>
            <p:nvSpPr>
              <p:cNvPr id="20" name="ZoneTexte 19">
                <a:extLst>
                  <a:ext uri="{FF2B5EF4-FFF2-40B4-BE49-F238E27FC236}">
                    <a16:creationId xmlns:a16="http://schemas.microsoft.com/office/drawing/2014/main" id="{CBA5242A-3853-EA54-035A-3A316EF1BF89}"/>
                  </a:ext>
                </a:extLst>
              </p:cNvPr>
              <p:cNvSpPr txBox="1"/>
              <p:nvPr/>
            </p:nvSpPr>
            <p:spPr>
              <a:xfrm>
                <a:off x="617512" y="3723411"/>
                <a:ext cx="65457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ar-MA" sz="4800">
                    <a:solidFill>
                      <a:srgbClr val="0070C0"/>
                    </a:solidFill>
                    <a:latin typeface="BelleAllureCE" panose="02000803000000000000" pitchFamily="50" charset="0"/>
                  </a:rPr>
                  <a:t>2</a:t>
                </a:r>
                <a:endParaRPr lang="fr-FR" sz="4800">
                  <a:solidFill>
                    <a:srgbClr val="0070C0"/>
                  </a:solidFill>
                  <a:latin typeface="BelleAllureCE" panose="02000803000000000000" pitchFamily="50" charset="0"/>
                </a:endParaRPr>
              </a:p>
            </p:txBody>
          </p:sp>
          <p:sp>
            <p:nvSpPr>
              <p:cNvPr id="21" name="ZoneTexte 20">
                <a:extLst>
                  <a:ext uri="{FF2B5EF4-FFF2-40B4-BE49-F238E27FC236}">
                    <a16:creationId xmlns:a16="http://schemas.microsoft.com/office/drawing/2014/main" id="{55E689DD-B40C-F97A-39BE-53CE3F406D24}"/>
                  </a:ext>
                </a:extLst>
              </p:cNvPr>
              <p:cNvSpPr txBox="1"/>
              <p:nvPr/>
            </p:nvSpPr>
            <p:spPr>
              <a:xfrm>
                <a:off x="2015206" y="3723412"/>
                <a:ext cx="65457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ar-MA" sz="4800">
                    <a:solidFill>
                      <a:srgbClr val="0070C0"/>
                    </a:solidFill>
                    <a:latin typeface="BelleAllureCE" panose="02000803000000000000" pitchFamily="50" charset="0"/>
                  </a:rPr>
                  <a:t>1</a:t>
                </a:r>
                <a:endParaRPr lang="fr-FR" sz="4800">
                  <a:solidFill>
                    <a:srgbClr val="0070C0"/>
                  </a:solidFill>
                  <a:latin typeface="BelleAllureCE" panose="02000803000000000000" pitchFamily="50" charset="0"/>
                </a:endParaRPr>
              </a:p>
            </p:txBody>
          </p:sp>
        </p:grp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BB07A8E2-AD7D-77DD-C626-070CBB96371A}"/>
              </a:ext>
            </a:extLst>
          </p:cNvPr>
          <p:cNvGrpSpPr/>
          <p:nvPr/>
        </p:nvGrpSpPr>
        <p:grpSpPr>
          <a:xfrm>
            <a:off x="442449" y="2744630"/>
            <a:ext cx="2393281" cy="2114697"/>
            <a:chOff x="6352673" y="2371651"/>
            <a:chExt cx="2393281" cy="2114697"/>
          </a:xfrm>
        </p:grpSpPr>
        <p:pic>
          <p:nvPicPr>
            <p:cNvPr id="32" name="Image 31">
              <a:extLst>
                <a:ext uri="{FF2B5EF4-FFF2-40B4-BE49-F238E27FC236}">
                  <a16:creationId xmlns:a16="http://schemas.microsoft.com/office/drawing/2014/main" id="{BDCA5D2C-0888-4995-8E55-632E578A8C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B4496E5B-2953-FDC1-32DF-BF62D1FD57FD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/>
                <a:t>2</a:t>
              </a:r>
              <a:endParaRPr lang="fr-FR" sz="5400"/>
            </a:p>
          </p:txBody>
        </p:sp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994EF7F2-7977-C18C-7535-CEDDA4EF72D7}"/>
                </a:ext>
              </a:extLst>
            </p:cNvPr>
            <p:cNvSpPr txBox="1"/>
            <p:nvPr/>
          </p:nvSpPr>
          <p:spPr>
            <a:xfrm>
              <a:off x="6546852" y="3556263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480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id="{0CEF81F5-8882-4FD1-8807-9B1D83883A22}"/>
                </a:ext>
              </a:extLst>
            </p:cNvPr>
            <p:cNvSpPr txBox="1"/>
            <p:nvPr/>
          </p:nvSpPr>
          <p:spPr>
            <a:xfrm>
              <a:off x="7981236" y="3556263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051C61D1-ABA3-5599-BC00-92A052252786}"/>
              </a:ext>
            </a:extLst>
          </p:cNvPr>
          <p:cNvCxnSpPr/>
          <p:nvPr/>
        </p:nvCxnSpPr>
        <p:spPr>
          <a:xfrm>
            <a:off x="3272495" y="3018496"/>
            <a:ext cx="0" cy="184083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6812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254000" y="736600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/>
              <a:endParaRPr lang="fr-MA"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</a:pPr>
              <a:endParaRPr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3" name="Rectangle : coins arrondis 95">
            <a:extLst>
              <a:ext uri="{FF2B5EF4-FFF2-40B4-BE49-F238E27FC236}">
                <a16:creationId xmlns:a16="http://schemas.microsoft.com/office/drawing/2014/main" id="{42557ECF-08F2-3547-3552-5F70E09A2044}"/>
              </a:ext>
            </a:extLst>
          </p:cNvPr>
          <p:cNvSpPr/>
          <p:nvPr/>
        </p:nvSpPr>
        <p:spPr>
          <a:xfrm flipH="1" flipV="1">
            <a:off x="1737456" y="1415815"/>
            <a:ext cx="5614492" cy="532201"/>
          </a:xfrm>
          <a:prstGeom prst="roundRect">
            <a:avLst>
              <a:gd name="adj" fmla="val 50000"/>
            </a:avLst>
          </a:prstGeom>
          <a:solidFill>
            <a:srgbClr val="2B7589"/>
          </a:solidFill>
          <a:ln w="13658" cap="flat">
            <a:solidFill>
              <a:srgbClr val="005664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ir Strip Arabic" panose="02000500000000000000" pitchFamily="2" charset="-78"/>
              <a:cs typeface="Air Strip Arabic" panose="02000500000000000000" pitchFamily="2" charset="-78"/>
            </a:endParaRPr>
          </a:p>
        </p:txBody>
      </p: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365553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MA" sz="1600" i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اص بالأستاذ</a:t>
            </a:r>
            <a:endParaRPr lang="fr-MA" sz="1600" i="1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3E8F-A2D4-86F5-970B-0187137D8890}"/>
              </a:ext>
            </a:extLst>
          </p:cNvPr>
          <p:cNvSpPr txBox="1"/>
          <p:nvPr/>
        </p:nvSpPr>
        <p:spPr>
          <a:xfrm>
            <a:off x="1620192" y="1539426"/>
            <a:ext cx="6164669" cy="676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334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ند نهاية الحصة</a:t>
            </a:r>
          </a:p>
          <a:p>
            <a:pPr algn="ctr">
              <a:lnSpc>
                <a:spcPts val="2075"/>
              </a:lnSpc>
            </a:pPr>
            <a:r>
              <a:rPr lang="ar-MA" sz="3334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fr-FR" sz="3334" b="1" kern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1DB1C-D298-6B57-4318-C68FD8DCE947}"/>
              </a:ext>
            </a:extLst>
          </p:cNvPr>
          <p:cNvSpPr txBox="1"/>
          <p:nvPr/>
        </p:nvSpPr>
        <p:spPr>
          <a:xfrm>
            <a:off x="1359139" y="2144323"/>
            <a:ext cx="6164669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1">
              <a:spcAft>
                <a:spcPts val="600"/>
              </a:spcAft>
            </a:pPr>
            <a:r>
              <a:rPr lang="ar-MA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لى الأقل </a:t>
            </a:r>
            <a:r>
              <a:rPr lang="fr-FR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%</a:t>
            </a:r>
            <a:r>
              <a:rPr lang="ar-MA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من المتعلمين سيكونون قادرين على</a:t>
            </a:r>
            <a:r>
              <a:rPr lang="en-GB" sz="2667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fr-FR" sz="2667" b="1" kern="0" dirty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D6A3147-0DFC-AF15-491E-F043AF0F253C}"/>
              </a:ext>
            </a:extLst>
          </p:cNvPr>
          <p:cNvSpPr/>
          <p:nvPr/>
        </p:nvSpPr>
        <p:spPr>
          <a:xfrm>
            <a:off x="7162800" y="3306938"/>
            <a:ext cx="361008" cy="349749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D14C045-02D3-7077-7653-8FE29C9975B9}"/>
              </a:ext>
            </a:extLst>
          </p:cNvPr>
          <p:cNvSpPr/>
          <p:nvPr/>
        </p:nvSpPr>
        <p:spPr>
          <a:xfrm>
            <a:off x="774065" y="3052724"/>
            <a:ext cx="7560840" cy="160473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44A9ABB-B6D8-B950-929F-5A5DA55A0CFC}"/>
              </a:ext>
            </a:extLst>
          </p:cNvPr>
          <p:cNvCxnSpPr>
            <a:cxnSpLocks/>
          </p:cNvCxnSpPr>
          <p:nvPr/>
        </p:nvCxnSpPr>
        <p:spPr>
          <a:xfrm>
            <a:off x="1335999" y="3398520"/>
            <a:ext cx="601594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96D4D483-5B07-B4C2-3F60-E0B712665810}"/>
              </a:ext>
            </a:extLst>
          </p:cNvPr>
          <p:cNvCxnSpPr>
            <a:cxnSpLocks/>
          </p:cNvCxnSpPr>
          <p:nvPr/>
        </p:nvCxnSpPr>
        <p:spPr>
          <a:xfrm>
            <a:off x="1335999" y="4293096"/>
            <a:ext cx="600730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11">
            <a:extLst>
              <a:ext uri="{FF2B5EF4-FFF2-40B4-BE49-F238E27FC236}">
                <a16:creationId xmlns:a16="http://schemas.microsoft.com/office/drawing/2014/main" id="{407B291E-39AB-ED59-91BB-808EBC9ED614}"/>
              </a:ext>
            </a:extLst>
          </p:cNvPr>
          <p:cNvSpPr txBox="1"/>
          <p:nvPr/>
        </p:nvSpPr>
        <p:spPr>
          <a:xfrm>
            <a:off x="809095" y="3501008"/>
            <a:ext cx="6597397" cy="56836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 rtl="1">
              <a:lnSpc>
                <a:spcPct val="150000"/>
              </a:lnSpc>
              <a:spcAft>
                <a:spcPts val="600"/>
              </a:spcAft>
            </a:pPr>
            <a:r>
              <a:rPr lang="ar-MA" sz="23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تفكيك العددين 2 و3.</a:t>
            </a:r>
          </a:p>
        </p:txBody>
      </p:sp>
      <p:sp>
        <p:nvSpPr>
          <p:cNvPr id="9" name="Oval 23">
            <a:extLst>
              <a:ext uri="{FF2B5EF4-FFF2-40B4-BE49-F238E27FC236}">
                <a16:creationId xmlns:a16="http://schemas.microsoft.com/office/drawing/2014/main" id="{2C74FDBD-4EDF-ED6A-A1B9-42AE76BC4450}"/>
              </a:ext>
            </a:extLst>
          </p:cNvPr>
          <p:cNvSpPr/>
          <p:nvPr/>
        </p:nvSpPr>
        <p:spPr>
          <a:xfrm>
            <a:off x="7748852" y="3656687"/>
            <a:ext cx="361008" cy="349749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val 86">
            <a:extLst>
              <a:ext uri="{FF2B5EF4-FFF2-40B4-BE49-F238E27FC236}">
                <a16:creationId xmlns:a16="http://schemas.microsoft.com/office/drawing/2014/main" id="{BAD1CC90-5EA6-EDBC-2C77-A7883EA6821D}"/>
              </a:ext>
            </a:extLst>
          </p:cNvPr>
          <p:cNvSpPr/>
          <p:nvPr/>
        </p:nvSpPr>
        <p:spPr>
          <a:xfrm flipH="1">
            <a:off x="7731967" y="3645997"/>
            <a:ext cx="387758" cy="376435"/>
          </a:xfrm>
          <a:prstGeom prst="ellipse">
            <a:avLst/>
          </a:prstGeom>
          <a:solidFill>
            <a:srgbClr val="005664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1" name="Graphique 25">
            <a:extLst>
              <a:ext uri="{FF2B5EF4-FFF2-40B4-BE49-F238E27FC236}">
                <a16:creationId xmlns:a16="http://schemas.microsoft.com/office/drawing/2014/main" id="{4ED11011-6341-7867-B72D-0D82A66514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22415" y="3656687"/>
            <a:ext cx="352096" cy="272874"/>
          </a:xfrm>
          <a:prstGeom prst="rect">
            <a:avLst/>
          </a:prstGeom>
        </p:spPr>
      </p:pic>
      <p:sp>
        <p:nvSpPr>
          <p:cNvPr id="20" name="ZoneTexte 11">
            <a:extLst>
              <a:ext uri="{FF2B5EF4-FFF2-40B4-BE49-F238E27FC236}">
                <a16:creationId xmlns:a16="http://schemas.microsoft.com/office/drawing/2014/main" id="{2DA67A66-CF0F-475A-927F-B9D408531284}"/>
              </a:ext>
            </a:extLst>
          </p:cNvPr>
          <p:cNvSpPr txBox="1"/>
          <p:nvPr/>
        </p:nvSpPr>
        <p:spPr>
          <a:xfrm>
            <a:off x="4702526" y="5241904"/>
            <a:ext cx="1066949" cy="56836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 rtl="1">
              <a:lnSpc>
                <a:spcPct val="150000"/>
              </a:lnSpc>
              <a:spcAft>
                <a:spcPts val="600"/>
              </a:spcAft>
            </a:pPr>
            <a:r>
              <a:rPr lang="ar-MA" sz="23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كفاية: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58F68B8-C824-D8FA-49C7-FCC1DE9E58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35639" y="5296902"/>
            <a:ext cx="736361" cy="492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43015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028A5E3-58B7-FB37-F072-B59E84A595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761A1820-A122-1DBA-39FA-B674D423887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EE9FEE25-8CFA-0EDC-8976-268E8054EACB}"/>
              </a:ext>
            </a:extLst>
          </p:cNvPr>
          <p:cNvSpPr txBox="1"/>
          <p:nvPr/>
        </p:nvSpPr>
        <p:spPr>
          <a:xfrm>
            <a:off x="368249" y="567451"/>
            <a:ext cx="8092279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آن سنشتغل على الكراسات. خذوا الصفحة 13. النشاط 4.</a:t>
            </a:r>
          </a:p>
          <a:p>
            <a:pPr algn="r" rtl="1"/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كل واحد منكم سيقوم بتفكيك العدد 2.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مر بين الصفوف لمساعدتكم.</a:t>
            </a:r>
            <a:endParaRPr kumimoji="0" lang="ar-MA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6680ECDE-F291-E6C9-336B-587C6CC40A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099D83F-2FEA-E3EC-172E-4DD617A2F2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290" y="2607809"/>
            <a:ext cx="8208450" cy="2362462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FFC2136F-6BE4-7CD5-3FE2-BA3B13256C5C}"/>
              </a:ext>
            </a:extLst>
          </p:cNvPr>
          <p:cNvSpPr/>
          <p:nvPr/>
        </p:nvSpPr>
        <p:spPr>
          <a:xfrm>
            <a:off x="3815916" y="2780928"/>
            <a:ext cx="1512168" cy="2189343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Flèche : bas 8">
            <a:extLst>
              <a:ext uri="{FF2B5EF4-FFF2-40B4-BE49-F238E27FC236}">
                <a16:creationId xmlns:a16="http://schemas.microsoft.com/office/drawing/2014/main" id="{20A6CB25-DDFA-588B-72D1-9C502972B03C}"/>
              </a:ext>
            </a:extLst>
          </p:cNvPr>
          <p:cNvSpPr/>
          <p:nvPr/>
        </p:nvSpPr>
        <p:spPr>
          <a:xfrm>
            <a:off x="4391364" y="2012560"/>
            <a:ext cx="414302" cy="620486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761399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AE52FAF-35C6-0471-E954-AB731CC3FE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C3FD2D4-3C5B-769E-954C-06082EDFCAE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84EDF8CD-2E3C-F1CD-BE1F-749092DC00EA}"/>
              </a:ext>
            </a:extLst>
          </p:cNvPr>
          <p:cNvSpPr txBox="1"/>
          <p:nvPr/>
        </p:nvSpPr>
        <p:spPr>
          <a:xfrm>
            <a:off x="878551" y="56345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هى الوقت. يقدم كل واحد نتيجته لزميله مع الشرح. 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E3AFD89-73BC-C301-8E9C-6C076C9A89E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366" y="1916832"/>
            <a:ext cx="484326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06160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9CC4BF2-4A9E-C99B-A909-034B93B150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379F0FA-6C6E-14FD-0D27-DD66C32793F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23130B8F-071C-FDFC-BEB9-6EC28416919D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قلوا النتيجة على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D50C796-EB9C-C232-2EEF-1B2D614D0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911" y="2169000"/>
            <a:ext cx="3924179" cy="2520000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D06363A6-A125-2C04-1490-B3021B48C7D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7678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AACC4A1-3C3A-AB7C-0C1D-ECA14E3DA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2F573782-5E8A-64A9-1DB7-17CC7A0C372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BADA3516-4571-6B7C-EFD1-F32DD6E226EF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C32B7020-32EB-F376-D2EE-2939CE7B46C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D771D25-6836-D30C-35F9-E72D55D513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3696" y="2169000"/>
            <a:ext cx="3768019" cy="270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1790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C968E1B-C95F-3BA0-619D-99EE24691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EA58C2E9-4A94-2A30-302D-BEB8EC594D9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65A95711-63B4-025B-1ECC-318D1D2FEA53}"/>
              </a:ext>
            </a:extLst>
          </p:cNvPr>
          <p:cNvSpPr txBox="1"/>
          <p:nvPr/>
        </p:nvSpPr>
        <p:spPr>
          <a:xfrm>
            <a:off x="2386049" y="539388"/>
            <a:ext cx="6026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ختار أحد  التلاميذ ليقوم إلى السبورة ويشرح لنا كيف قام بذلك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 العدد 2 هو 1 و1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B1E6D21-6A05-49C5-5A02-BD0A9997B9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270A1C9-5105-4486-B563-9AB43D2F1D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290" y="2607809"/>
            <a:ext cx="8208450" cy="2362462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4D7A1F8C-C49B-0082-BFCD-10396F5B38DD}"/>
              </a:ext>
            </a:extLst>
          </p:cNvPr>
          <p:cNvSpPr/>
          <p:nvPr/>
        </p:nvSpPr>
        <p:spPr>
          <a:xfrm>
            <a:off x="3815916" y="2780928"/>
            <a:ext cx="1512168" cy="2189343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0488B345-864B-DD8C-644D-E533B08F43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2043" y="4077072"/>
            <a:ext cx="161925" cy="2952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F0D3291C-39F2-5DA6-75D1-DDE8298E58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8024" y="4077072"/>
            <a:ext cx="161925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47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56F5F2F-EB15-5DA1-DB2F-3A1DA8D907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C908B41-6B9C-46CC-26DC-6F4259A13D3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8FDA055C-3533-0D3B-FFDA-864B9D86A846}"/>
              </a:ext>
            </a:extLst>
          </p:cNvPr>
          <p:cNvSpPr txBox="1"/>
          <p:nvPr/>
        </p:nvSpPr>
        <p:spPr>
          <a:xfrm>
            <a:off x="1592385" y="539388"/>
            <a:ext cx="6819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آن. كل واحد منكم سيقوم بتفكيك آخر للعدد 3. سأمر بين الصفوف لمساعدتكم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38820BF-596F-D773-4FFD-B1AEB949A9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290" y="2607809"/>
            <a:ext cx="8208450" cy="2362462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C42B67D8-AF8D-CC3D-C8DD-FBC81B08DCD4}"/>
              </a:ext>
            </a:extLst>
          </p:cNvPr>
          <p:cNvSpPr/>
          <p:nvPr/>
        </p:nvSpPr>
        <p:spPr>
          <a:xfrm>
            <a:off x="6444208" y="3228295"/>
            <a:ext cx="1512168" cy="1640865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Flèche : bas 6">
            <a:extLst>
              <a:ext uri="{FF2B5EF4-FFF2-40B4-BE49-F238E27FC236}">
                <a16:creationId xmlns:a16="http://schemas.microsoft.com/office/drawing/2014/main" id="{E8E48C89-DDD2-B937-999B-C18A04EC557E}"/>
              </a:ext>
            </a:extLst>
          </p:cNvPr>
          <p:cNvSpPr/>
          <p:nvPr/>
        </p:nvSpPr>
        <p:spPr>
          <a:xfrm>
            <a:off x="6993141" y="2482434"/>
            <a:ext cx="414302" cy="620486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7C28F21-A088-B868-3F48-982C57AC86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24208995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41709B1-3170-8438-89C3-7741A7CDB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4E0A9B5-37AF-E092-88BC-47D4CFE467B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473677D2-6672-E938-1910-EF8C794A55EE}"/>
              </a:ext>
            </a:extLst>
          </p:cNvPr>
          <p:cNvSpPr txBox="1"/>
          <p:nvPr/>
        </p:nvSpPr>
        <p:spPr>
          <a:xfrm>
            <a:off x="878551" y="56345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هى الوقت. يقدم كل واحد نتيجته لزميله مع الشرح. 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150BB94-1FAD-D821-B3E8-B080FD6501C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366" y="1916832"/>
            <a:ext cx="484326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03584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03BE67-F330-F13A-E815-894B0D2E74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30981094-C000-C705-FB39-4E515EA6243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3F443CDC-7397-BE58-6D6D-1220C76739F3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قلوا النتيجة على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2C499ED-D2CA-C3A9-03EC-625E10C533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911" y="2169000"/>
            <a:ext cx="3924179" cy="2520000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BE79DD79-937F-1CF5-93F7-6BAD369C1CB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34717090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D91E931-8E52-3210-6C82-79C78A2B37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3A8374DA-4276-21E6-B62D-524573B719A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874F994B-5A59-2ACE-97DE-E5A3C8785B0D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5B8AB7B1-2577-ADFF-94ED-53CA8D7E5E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CE861D55-D544-FAA0-9A80-4D9792208A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3696" y="2169000"/>
            <a:ext cx="3768019" cy="270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42124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09F37A8-4CD6-13CC-ED80-F897D137FD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CE9B73BA-940A-37CE-EA98-314101939B5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2FC8984B-9DB1-CD47-970D-2ED9DD1C0D0F}"/>
              </a:ext>
            </a:extLst>
          </p:cNvPr>
          <p:cNvSpPr txBox="1"/>
          <p:nvPr/>
        </p:nvSpPr>
        <p:spPr>
          <a:xfrm>
            <a:off x="2386049" y="539388"/>
            <a:ext cx="6026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ختار أحد  التلاميذ ليقوم إلى السبورة ويشرح لنا كيف قام بذلك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 العدد 3 هو أيضا 2 و1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853E6B9-B1D4-FDE1-C37B-D5B4F8E8B1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432D5B03-EE0E-F881-905B-F919E2AC6C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290" y="2607809"/>
            <a:ext cx="8208450" cy="2362462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99D9109-93DE-9A99-8B58-3D2BAA3EFB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2043" y="4077072"/>
            <a:ext cx="161925" cy="29527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2597106-990E-CC57-61FD-6D813ECF0A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8024" y="4077072"/>
            <a:ext cx="161925" cy="29527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00C299B-282A-D7B2-3907-16C957E485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2531" y="4077072"/>
            <a:ext cx="276225" cy="28575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11B442E4-D6F1-FFBE-D36D-E94014A06C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2320" y="4077072"/>
            <a:ext cx="161925" cy="295275"/>
          </a:xfrm>
          <a:prstGeom prst="rect">
            <a:avLst/>
          </a:prstGeom>
        </p:spPr>
      </p:pic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4878B214-B866-A309-8395-1FF8CABFB9D9}"/>
              </a:ext>
            </a:extLst>
          </p:cNvPr>
          <p:cNvSpPr/>
          <p:nvPr/>
        </p:nvSpPr>
        <p:spPr>
          <a:xfrm>
            <a:off x="6444208" y="3228295"/>
            <a:ext cx="1512168" cy="1640865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7923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56E50A-0A92-B4C8-1221-317305D91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7AEAF39A-47AE-2859-CEC6-345BA54ED85B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Ellipse 62">
            <a:extLst>
              <a:ext uri="{FF2B5EF4-FFF2-40B4-BE49-F238E27FC236}">
                <a16:creationId xmlns:a16="http://schemas.microsoft.com/office/drawing/2014/main" id="{6DBB46C9-7A1B-EBBC-8516-A4E7F6CA72E6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232CFA0-8C0A-A9A2-2ABE-0BD12D061C10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افتتاح الحصة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1103522D-1968-85DC-D0F1-DE74655BA9F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9DE8D10-2A73-DF56-A070-157E471B6D6A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Google Shape;290;p9">
            <a:extLst>
              <a:ext uri="{FF2B5EF4-FFF2-40B4-BE49-F238E27FC236}">
                <a16:creationId xmlns:a16="http://schemas.microsoft.com/office/drawing/2014/main" id="{FD633BB9-ADE0-571E-4198-23E212CFA82F}"/>
              </a:ext>
            </a:extLst>
          </p:cNvPr>
          <p:cNvSpPr txBox="1"/>
          <p:nvPr/>
        </p:nvSpPr>
        <p:spPr>
          <a:xfrm>
            <a:off x="2627784" y="3418735"/>
            <a:ext cx="2664296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95AF"/>
              </a:buClr>
              <a:buSzPts val="4800"/>
              <a:buFont typeface="Dosis"/>
              <a:buNone/>
            </a:pPr>
            <a:r>
              <a:rPr lang="ar-MA" sz="2400" b="1" i="0" u="none" strike="noStrike" cap="none" dirty="0">
                <a:solidFill>
                  <a:srgbClr val="3795A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نشاط اعتيادي</a:t>
            </a:r>
            <a:endParaRPr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Google Shape;291;p9">
            <a:extLst>
              <a:ext uri="{FF2B5EF4-FFF2-40B4-BE49-F238E27FC236}">
                <a16:creationId xmlns:a16="http://schemas.microsoft.com/office/drawing/2014/main" id="{52FE77C1-5A7F-E33C-5861-996FC5515D6B}"/>
              </a:ext>
            </a:extLst>
          </p:cNvPr>
          <p:cNvPicPr preferRelativeResize="0"/>
          <p:nvPr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 flipH="1">
            <a:off x="5868144" y="3404153"/>
            <a:ext cx="789308" cy="44032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125742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242D67-BFEF-4B5D-3DE1-15CAC9D607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242D67-BFEF-4B5D-3DE1-15CAC9D60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12032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endParaRPr lang="fr-MA" sz="900"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93616742-0B9E-A7E2-14DE-DF310769E8D3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/>
          <p:cNvSpPr txBox="1"/>
          <p:nvPr/>
        </p:nvSpPr>
        <p:spPr>
          <a:xfrm>
            <a:off x="1574801" y="2260600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rtl="1">
              <a:lnSpc>
                <a:spcPts val="5486"/>
              </a:lnSpc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 أنشطة التدرب</a:t>
            </a: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pic>
        <p:nvPicPr>
          <p:cNvPr id="5" name="Image 12">
            <a:extLst>
              <a:ext uri="{FF2B5EF4-FFF2-40B4-BE49-F238E27FC236}">
                <a16:creationId xmlns:a16="http://schemas.microsoft.com/office/drawing/2014/main" id="{6B648B92-E3C8-11B4-4206-CC50215B1848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5838706" y="3483354"/>
            <a:ext cx="812326" cy="4497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E1D4593-8EE1-8254-4D60-5DCB88F8CCD4}"/>
              </a:ext>
            </a:extLst>
          </p:cNvPr>
          <p:cNvSpPr/>
          <p:nvPr/>
        </p:nvSpPr>
        <p:spPr>
          <a:xfrm>
            <a:off x="2843808" y="3134311"/>
            <a:ext cx="3708400" cy="10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4" rtl="1">
              <a:lnSpc>
                <a:spcPts val="5486"/>
              </a:lnSpc>
              <a:defRPr/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أنجز بمفردي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EBC916A-F775-D342-2ACD-FC9A6A9F4E5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21904" y="4408743"/>
            <a:ext cx="1428239" cy="184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84586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B754BD-B770-ADC7-B9ED-36AC932D4F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6B16724-1CC2-9183-5EFB-21100499703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5649BC64-9A82-EC7D-9E67-72FDA1798F41}"/>
              </a:ext>
            </a:extLst>
          </p:cNvPr>
          <p:cNvSpPr txBox="1"/>
          <p:nvPr/>
        </p:nvSpPr>
        <p:spPr>
          <a:xfrm>
            <a:off x="1419352" y="552322"/>
            <a:ext cx="714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كل واحد منكم سينجز النشاط 5 بمفرده. سأمر بين الصفوف.</a:t>
            </a:r>
          </a:p>
          <a:p>
            <a:pPr algn="r"/>
            <a:r>
              <a:rPr lang="ar-MA" i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شرح الأستاذ الجزء الأول المحلول من التمرين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723379E3-1BA5-1BF8-746E-90ACEFBB52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FC8C37B2-38D5-C2E0-B798-F3FF94D21FB1}"/>
              </a:ext>
            </a:extLst>
          </p:cNvPr>
          <p:cNvSpPr/>
          <p:nvPr/>
        </p:nvSpPr>
        <p:spPr>
          <a:xfrm>
            <a:off x="372029" y="2852936"/>
            <a:ext cx="8385766" cy="2511097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6DE565F-A82D-F8E0-E635-799219B4A5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2861" y="2934127"/>
            <a:ext cx="8108753" cy="2330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26261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59D2E97-FB0D-630A-411D-31FEE3A48B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0D23E5E8-5BA5-6B2C-2740-0B58421B550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06CD232-E49F-55E1-2BFE-EABB1E88B471}"/>
              </a:ext>
            </a:extLst>
          </p:cNvPr>
          <p:cNvSpPr txBox="1"/>
          <p:nvPr/>
        </p:nvSpPr>
        <p:spPr>
          <a:xfrm>
            <a:off x="1387558" y="540215"/>
            <a:ext cx="714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</a:t>
            </a:r>
          </a:p>
          <a:p>
            <a:pPr algn="r"/>
            <a:r>
              <a:rPr lang="ar-MA" i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 أثناء التصحيح.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16513F4A-E5BD-44EB-268F-580E30F776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BDB79508-F9A9-2A76-3C31-1DDEE00B5B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2861" y="2934127"/>
            <a:ext cx="8108752" cy="233081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9E224191-F9A6-14EE-520C-A3FEA031F0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3340" y="4355773"/>
            <a:ext cx="276225" cy="2857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E99C7B1-EFB1-CF46-9271-CBD9121A22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95736" y="4363684"/>
            <a:ext cx="161925" cy="2952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FFBB0007-0207-46EA-F385-4C314982E4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20046" y="4357861"/>
            <a:ext cx="161925" cy="29527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1AEC72F0-DEAC-D8CC-6CD6-6937BAAB8B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05378" y="4363684"/>
            <a:ext cx="161925" cy="295275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2779804-ACD7-388A-529D-C815E0DDC9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7087" y="4346248"/>
            <a:ext cx="161925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03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E8872D-0D9D-1A1A-0A6A-6DF2452F02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F45ED2C7-AD33-C51F-C696-19CB0A20B10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F284B9EE-D8C4-D02F-871E-E0A883102065}"/>
              </a:ext>
            </a:extLst>
          </p:cNvPr>
          <p:cNvSpPr txBox="1"/>
          <p:nvPr/>
        </p:nvSpPr>
        <p:spPr>
          <a:xfrm>
            <a:off x="1419352" y="552322"/>
            <a:ext cx="714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كل واحد منكم سينجز النشاط 6 بمفرده. سأمر بين الصفوف.</a:t>
            </a:r>
          </a:p>
          <a:p>
            <a:pPr algn="r"/>
            <a:r>
              <a:rPr lang="ar-MA" i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شرح الأستاذ الجزء الأول المحلول من التمرين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D86B3AD-9043-4279-AC87-57EFDAFA4C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1AF23C9-4423-F888-5375-43F70C76A0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1621" y="2195681"/>
            <a:ext cx="8397203" cy="3168352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927ED750-B791-7E14-7906-DD6E189C5C93}"/>
              </a:ext>
            </a:extLst>
          </p:cNvPr>
          <p:cNvSpPr/>
          <p:nvPr/>
        </p:nvSpPr>
        <p:spPr>
          <a:xfrm>
            <a:off x="372029" y="2152678"/>
            <a:ext cx="8385766" cy="3211355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115724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64663D-6A24-3608-A7D9-9DFEE109B2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333A9869-0860-2C96-829A-3B0E33A3C3AE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9ABD88D-1655-77C1-0C4C-118BC830B070}"/>
              </a:ext>
            </a:extLst>
          </p:cNvPr>
          <p:cNvSpPr txBox="1"/>
          <p:nvPr/>
        </p:nvSpPr>
        <p:spPr>
          <a:xfrm>
            <a:off x="1387558" y="540215"/>
            <a:ext cx="714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</a:t>
            </a:r>
          </a:p>
          <a:p>
            <a:pPr algn="r"/>
            <a:r>
              <a:rPr lang="ar-MA" i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 أثناء التصحيح.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EBF6A403-DD33-8DA8-F097-2CE5EAA9C4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59B0DDA-0862-5BBC-B6A7-55CC932D14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1621" y="2195681"/>
            <a:ext cx="8397203" cy="3168352"/>
          </a:xfrm>
          <a:prstGeom prst="rect">
            <a:avLst/>
          </a:prstGeom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D733C5F9-AE0D-C779-CF3F-127CF035EE8B}"/>
              </a:ext>
            </a:extLst>
          </p:cNvPr>
          <p:cNvSpPr/>
          <p:nvPr/>
        </p:nvSpPr>
        <p:spPr>
          <a:xfrm>
            <a:off x="3934474" y="4597052"/>
            <a:ext cx="360040" cy="36004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B3C449A7-FAC1-625E-27FD-205F8DC8578E}"/>
              </a:ext>
            </a:extLst>
          </p:cNvPr>
          <p:cNvSpPr/>
          <p:nvPr/>
        </p:nvSpPr>
        <p:spPr>
          <a:xfrm>
            <a:off x="4383969" y="4606383"/>
            <a:ext cx="360040" cy="36004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B4D4CD6D-B2FA-E685-3889-A3AABEB84897}"/>
              </a:ext>
            </a:extLst>
          </p:cNvPr>
          <p:cNvSpPr/>
          <p:nvPr/>
        </p:nvSpPr>
        <p:spPr>
          <a:xfrm>
            <a:off x="4833464" y="4609044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232BB56E-E629-36BC-3989-D4BD8CC66214}"/>
              </a:ext>
            </a:extLst>
          </p:cNvPr>
          <p:cNvSpPr/>
          <p:nvPr/>
        </p:nvSpPr>
        <p:spPr>
          <a:xfrm>
            <a:off x="6711033" y="4603722"/>
            <a:ext cx="360040" cy="36004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27679A2-4497-E06E-DDE0-8B96EF1921B5}"/>
              </a:ext>
            </a:extLst>
          </p:cNvPr>
          <p:cNvSpPr/>
          <p:nvPr/>
        </p:nvSpPr>
        <p:spPr>
          <a:xfrm>
            <a:off x="7160528" y="4613053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C0282DFC-2841-A3AE-866E-5532D55F7A6E}"/>
              </a:ext>
            </a:extLst>
          </p:cNvPr>
          <p:cNvSpPr/>
          <p:nvPr/>
        </p:nvSpPr>
        <p:spPr>
          <a:xfrm>
            <a:off x="7610023" y="4615714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2453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4" grpId="0" animBg="1"/>
      <p:bldP spid="16" grpId="0" animBg="1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endParaRPr lang="fr-MA" sz="900"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FD4561E1-693D-F1CD-DF17-929DA64BE9B9}"/>
              </a:ext>
            </a:extLst>
          </p:cNvPr>
          <p:cNvSpPr/>
          <p:nvPr/>
        </p:nvSpPr>
        <p:spPr>
          <a:xfrm>
            <a:off x="1331640" y="0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/>
          <p:cNvSpPr txBox="1"/>
          <p:nvPr/>
        </p:nvSpPr>
        <p:spPr>
          <a:xfrm>
            <a:off x="1574801" y="2717800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rtl="1">
              <a:lnSpc>
                <a:spcPts val="5486"/>
              </a:lnSpc>
            </a:pPr>
            <a:r>
              <a:rPr lang="ar-MA" sz="4400" b="1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. اختتام الحصة</a:t>
            </a:r>
            <a:endParaRPr lang="ar-MA" sz="1600" b="1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081226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23EF71-714F-A0B5-E916-E924540BD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7E65B658-7089-B51E-D50A-2876F7A0093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ZoneTexte 4">
            <a:extLst>
              <a:ext uri="{FF2B5EF4-FFF2-40B4-BE49-F238E27FC236}">
                <a16:creationId xmlns:a16="http://schemas.microsoft.com/office/drawing/2014/main" id="{B1FD324B-2FA8-B5A1-4D60-50F18059E1A4}"/>
              </a:ext>
            </a:extLst>
          </p:cNvPr>
          <p:cNvSpPr txBox="1"/>
          <p:nvPr/>
        </p:nvSpPr>
        <p:spPr>
          <a:xfrm>
            <a:off x="386095" y="563238"/>
            <a:ext cx="809227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الذي تعلمناه اليوم؟ 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FE09B82E-6C3D-3F8C-A21B-509B0FF96B22}"/>
              </a:ext>
            </a:extLst>
          </p:cNvPr>
          <p:cNvGrpSpPr/>
          <p:nvPr/>
        </p:nvGrpSpPr>
        <p:grpSpPr>
          <a:xfrm>
            <a:off x="3676467" y="2521855"/>
            <a:ext cx="2393281" cy="2148727"/>
            <a:chOff x="3270314" y="2439712"/>
            <a:chExt cx="2393281" cy="2148727"/>
          </a:xfrm>
        </p:grpSpPr>
        <p:pic>
          <p:nvPicPr>
            <p:cNvPr id="5" name="Image 4">
              <a:extLst>
                <a:ext uri="{FF2B5EF4-FFF2-40B4-BE49-F238E27FC236}">
                  <a16:creationId xmlns:a16="http://schemas.microsoft.com/office/drawing/2014/main" id="{8DBBF673-F6FC-9496-061D-277D91978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70314" y="2439712"/>
              <a:ext cx="2393281" cy="2114697"/>
            </a:xfrm>
            <a:prstGeom prst="rect">
              <a:avLst/>
            </a:prstGeom>
          </p:spPr>
        </p:pic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id="{6AC110BD-FAE7-FB18-66F9-31705123B5B4}"/>
                </a:ext>
              </a:extLst>
            </p:cNvPr>
            <p:cNvSpPr txBox="1"/>
            <p:nvPr/>
          </p:nvSpPr>
          <p:spPr>
            <a:xfrm>
              <a:off x="4204838" y="2463776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3</a:t>
              </a:r>
              <a:endParaRPr lang="fr-FR" sz="5400" dirty="0"/>
            </a:p>
          </p:txBody>
        </p:sp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31765A61-2B96-ABE2-B9A3-D50DF6D42579}"/>
                </a:ext>
              </a:extLst>
            </p:cNvPr>
            <p:cNvSpPr txBox="1"/>
            <p:nvPr/>
          </p:nvSpPr>
          <p:spPr>
            <a:xfrm>
              <a:off x="3489482" y="3757442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>
                  <a:solidFill>
                    <a:srgbClr val="0070C0"/>
                  </a:solidFill>
                  <a:latin typeface="BelleAllureCE" panose="02000803000000000000" pitchFamily="50" charset="0"/>
                </a:rPr>
                <a:t>1</a:t>
              </a:r>
              <a:endParaRPr lang="fr-FR" sz="4800" dirty="0">
                <a:solidFill>
                  <a:srgbClr val="0070C0"/>
                </a:solidFill>
                <a:latin typeface="BelleAllureCE" panose="02000803000000000000" pitchFamily="50" charset="0"/>
              </a:endParaRPr>
            </a:p>
          </p:txBody>
        </p:sp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406F4C81-D16F-3AF8-F720-21ACC289723D}"/>
                </a:ext>
              </a:extLst>
            </p:cNvPr>
            <p:cNvSpPr txBox="1"/>
            <p:nvPr/>
          </p:nvSpPr>
          <p:spPr>
            <a:xfrm>
              <a:off x="4918289" y="3757441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>
                  <a:solidFill>
                    <a:srgbClr val="0070C0"/>
                  </a:solidFill>
                  <a:latin typeface="BelleAllureCE" panose="02000803000000000000" pitchFamily="50" charset="0"/>
                </a:rPr>
                <a:t>2</a:t>
              </a:r>
              <a:endParaRPr lang="fr-FR" sz="4800">
                <a:solidFill>
                  <a:srgbClr val="0070C0"/>
                </a:solidFill>
                <a:latin typeface="BelleAllureCE" panose="02000803000000000000" pitchFamily="50" charset="0"/>
              </a:endParaRP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33C9FF8A-7273-BBB6-3D92-6958579B03E8}"/>
              </a:ext>
            </a:extLst>
          </p:cNvPr>
          <p:cNvGrpSpPr/>
          <p:nvPr/>
        </p:nvGrpSpPr>
        <p:grpSpPr>
          <a:xfrm>
            <a:off x="6288916" y="2521855"/>
            <a:ext cx="2393281" cy="2114697"/>
            <a:chOff x="392974" y="2439712"/>
            <a:chExt cx="2393281" cy="2114697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C262F079-67DC-40C5-486A-BF1C3F83D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2974" y="2439712"/>
              <a:ext cx="2393281" cy="2114697"/>
            </a:xfrm>
            <a:prstGeom prst="rect">
              <a:avLst/>
            </a:prstGeom>
          </p:spPr>
        </p:pic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41531895-052C-570A-A1A7-8097F994F84B}"/>
                </a:ext>
              </a:extLst>
            </p:cNvPr>
            <p:cNvGrpSpPr/>
            <p:nvPr/>
          </p:nvGrpSpPr>
          <p:grpSpPr>
            <a:xfrm>
              <a:off x="617512" y="2463776"/>
              <a:ext cx="2052269" cy="2090633"/>
              <a:chOff x="617512" y="2463776"/>
              <a:chExt cx="2052269" cy="2090633"/>
            </a:xfrm>
          </p:grpSpPr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E4D660DB-F339-AF2A-119C-06B5F69ED7B3}"/>
                  </a:ext>
                </a:extLst>
              </p:cNvPr>
              <p:cNvSpPr txBox="1"/>
              <p:nvPr/>
            </p:nvSpPr>
            <p:spPr>
              <a:xfrm>
                <a:off x="1327498" y="2463776"/>
                <a:ext cx="476103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ar-MA" sz="5400" dirty="0"/>
                  <a:t>3</a:t>
                </a:r>
                <a:endParaRPr lang="fr-FR" sz="5400" dirty="0"/>
              </a:p>
            </p:txBody>
          </p:sp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4F76C75F-99F7-CFCB-7288-A40DF6EBA0A8}"/>
                  </a:ext>
                </a:extLst>
              </p:cNvPr>
              <p:cNvSpPr txBox="1"/>
              <p:nvPr/>
            </p:nvSpPr>
            <p:spPr>
              <a:xfrm>
                <a:off x="617512" y="3723411"/>
                <a:ext cx="65457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ar-MA" sz="4800">
                    <a:solidFill>
                      <a:srgbClr val="0070C0"/>
                    </a:solidFill>
                    <a:latin typeface="BelleAllureCE" panose="02000803000000000000" pitchFamily="50" charset="0"/>
                  </a:rPr>
                  <a:t>2</a:t>
                </a:r>
                <a:endParaRPr lang="fr-FR" sz="4800">
                  <a:solidFill>
                    <a:srgbClr val="0070C0"/>
                  </a:solidFill>
                  <a:latin typeface="BelleAllureCE" panose="02000803000000000000" pitchFamily="50" charset="0"/>
                </a:endParaRPr>
              </a:p>
            </p:txBody>
          </p:sp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A3BD8CB0-B9C7-4483-8221-6CB04F0817C9}"/>
                  </a:ext>
                </a:extLst>
              </p:cNvPr>
              <p:cNvSpPr txBox="1"/>
              <p:nvPr/>
            </p:nvSpPr>
            <p:spPr>
              <a:xfrm>
                <a:off x="2015206" y="3723412"/>
                <a:ext cx="65457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ar-MA" sz="4800">
                    <a:solidFill>
                      <a:srgbClr val="0070C0"/>
                    </a:solidFill>
                    <a:latin typeface="BelleAllureCE" panose="02000803000000000000" pitchFamily="50" charset="0"/>
                  </a:rPr>
                  <a:t>1</a:t>
                </a:r>
                <a:endParaRPr lang="fr-FR" sz="4800">
                  <a:solidFill>
                    <a:srgbClr val="0070C0"/>
                  </a:solidFill>
                  <a:latin typeface="BelleAllureCE" panose="02000803000000000000" pitchFamily="50" charset="0"/>
                </a:endParaRPr>
              </a:p>
            </p:txBody>
          </p:sp>
        </p:grp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9E831F1E-BD6A-E30E-1E41-6A31BF06280C}"/>
              </a:ext>
            </a:extLst>
          </p:cNvPr>
          <p:cNvGrpSpPr/>
          <p:nvPr/>
        </p:nvGrpSpPr>
        <p:grpSpPr>
          <a:xfrm>
            <a:off x="442449" y="2547982"/>
            <a:ext cx="2393281" cy="2114697"/>
            <a:chOff x="6352673" y="2371651"/>
            <a:chExt cx="2393281" cy="2114697"/>
          </a:xfrm>
        </p:grpSpPr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65099820-C081-FCC5-5273-0E85049CF8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0BAF3591-FB9D-6593-2011-C124D97BF236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/>
                <a:t>2</a:t>
              </a:r>
              <a:endParaRPr lang="fr-FR" sz="5400"/>
            </a:p>
          </p:txBody>
        </p:sp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id="{589EF883-AF27-75D1-266D-79B135BD71C0}"/>
                </a:ext>
              </a:extLst>
            </p:cNvPr>
            <p:cNvSpPr txBox="1"/>
            <p:nvPr/>
          </p:nvSpPr>
          <p:spPr>
            <a:xfrm>
              <a:off x="6546852" y="3556263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480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025DE96F-5021-3AC2-7514-1872C7DBF828}"/>
                </a:ext>
              </a:extLst>
            </p:cNvPr>
            <p:cNvSpPr txBox="1"/>
            <p:nvPr/>
          </p:nvSpPr>
          <p:spPr>
            <a:xfrm>
              <a:off x="7981236" y="3556263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4FEF190A-31AD-2B13-5468-B58789AC5E18}"/>
              </a:ext>
            </a:extLst>
          </p:cNvPr>
          <p:cNvCxnSpPr/>
          <p:nvPr/>
        </p:nvCxnSpPr>
        <p:spPr>
          <a:xfrm>
            <a:off x="3272495" y="2821848"/>
            <a:ext cx="0" cy="184083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9923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4D9FBC4-7A35-4107-DD93-5DD8FED9D6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20840724-7FA8-E837-D11C-763B1A031B6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C94827C3-2196-10E3-BA9C-D08BAEE2EB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7794" y="1491418"/>
            <a:ext cx="3512638" cy="47655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66038B6C-AD40-09D6-B303-B619550392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1" r="771"/>
          <a:stretch/>
        </p:blipFill>
        <p:spPr>
          <a:xfrm>
            <a:off x="755576" y="1439036"/>
            <a:ext cx="3626473" cy="48702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ZoneTexte 4">
            <a:extLst>
              <a:ext uri="{FF2B5EF4-FFF2-40B4-BE49-F238E27FC236}">
                <a16:creationId xmlns:a16="http://schemas.microsoft.com/office/drawing/2014/main" id="{2847F445-0034-73EA-7EC6-54999794235D}"/>
              </a:ext>
            </a:extLst>
          </p:cNvPr>
          <p:cNvSpPr txBox="1"/>
          <p:nvPr/>
        </p:nvSpPr>
        <p:spPr>
          <a:xfrm>
            <a:off x="474691" y="572745"/>
            <a:ext cx="7985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 جيدا</a:t>
            </a:r>
            <a:r>
              <a:rPr lang="fr-FR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 </a:t>
            </a: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في المنزل، ستنجزون كل الأنشطة المتبقية على الصفحتين: </a:t>
            </a:r>
            <a:r>
              <a:rPr lang="fr-FR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و13.</a:t>
            </a:r>
            <a:endParaRPr lang="fr-MA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465306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776FFED-540A-74E8-CC1A-522314CB3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0AAED65C-9AE8-E792-4B7C-587942770B22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B7A082CD-4722-124F-25AE-26949F09544D}"/>
              </a:ext>
            </a:extLst>
          </p:cNvPr>
          <p:cNvSpPr txBox="1"/>
          <p:nvPr/>
        </p:nvSpPr>
        <p:spPr>
          <a:xfrm>
            <a:off x="304798" y="560851"/>
            <a:ext cx="8249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إلى اللقاء في الحصة القادمة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F57BD76-24C5-1059-AD44-83C35D96CB5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2132856"/>
            <a:ext cx="3348436" cy="309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612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C1171B-7DA8-2842-0EF5-E009E48F7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CE26C6A3-059D-1FB3-31A5-58AF369805F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2FFE84DF-8EC2-7EF5-2C60-AA66924D2BFF}"/>
              </a:ext>
            </a:extLst>
          </p:cNvPr>
          <p:cNvSpPr txBox="1"/>
          <p:nvPr/>
        </p:nvSpPr>
        <p:spPr>
          <a:xfrm>
            <a:off x="720000" y="549904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  <a:spcAft>
                <a:spcPts val="800"/>
              </a:spcAft>
            </a:pP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رحبا أبنائي</a:t>
            </a:r>
            <a:r>
              <a:rPr lang="ar-S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، </a:t>
            </a: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نبدأ درس اليوم</a:t>
            </a:r>
            <a:endParaRPr lang="fr-MA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D8013B0-8EE1-1C3A-5FDF-ED9DA08EE22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22824" y="2169000"/>
            <a:ext cx="3498353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523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heme/theme1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</TotalTime>
  <Words>1042</Words>
  <Application>Microsoft Office PowerPoint</Application>
  <PresentationFormat>Affichage à l'écran (4:3)</PresentationFormat>
  <Paragraphs>236</Paragraphs>
  <Slides>88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8</vt:i4>
      </vt:variant>
    </vt:vector>
  </HeadingPairs>
  <TitlesOfParts>
    <vt:vector size="100" baseType="lpstr">
      <vt:lpstr>Air Strip Arabic</vt:lpstr>
      <vt:lpstr>Aptos</vt:lpstr>
      <vt:lpstr>Cambria</vt:lpstr>
      <vt:lpstr>Arial</vt:lpstr>
      <vt:lpstr>BelleAllureCE</vt:lpstr>
      <vt:lpstr>Dosis</vt:lpstr>
      <vt:lpstr>Microsoft Uighur</vt:lpstr>
      <vt:lpstr>Calibri</vt:lpstr>
      <vt:lpstr>A Massir Ballpoint</vt:lpstr>
      <vt:lpstr>Calibri Light</vt:lpstr>
      <vt:lpstr>Office 2013 - 2022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hame Ibissi</dc:creator>
  <cp:lastModifiedBy>Mohamed Ibissi</cp:lastModifiedBy>
  <cp:revision>1</cp:revision>
  <dcterms:created xsi:type="dcterms:W3CDTF">2024-11-06T21:41:27Z</dcterms:created>
  <dcterms:modified xsi:type="dcterms:W3CDTF">2024-11-12T14:45:33Z</dcterms:modified>
</cp:coreProperties>
</file>